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17"/>
  </p:notesMasterIdLst>
  <p:sldIdLst>
    <p:sldId id="2147483208" r:id="rId5"/>
    <p:sldId id="258" r:id="rId6"/>
    <p:sldId id="2147480233" r:id="rId7"/>
    <p:sldId id="2147483223" r:id="rId8"/>
    <p:sldId id="2147483226" r:id="rId9"/>
    <p:sldId id="2147483236" r:id="rId10"/>
    <p:sldId id="2147483210" r:id="rId11"/>
    <p:sldId id="2147483237" r:id="rId12"/>
    <p:sldId id="2147483215" r:id="rId13"/>
    <p:sldId id="1091" r:id="rId14"/>
    <p:sldId id="2147483231" r:id="rId15"/>
    <p:sldId id="392" r:id="rId16"/>
  </p:sldIdLst>
  <p:sldSz cx="9144000" cy="5143500" type="screen16x9"/>
  <p:notesSz cx="6858000" cy="9926638"/>
  <p:custDataLst>
    <p:tags r:id="rId18"/>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2FF1833-24CF-4DEE-9FEC-A447D7637199}">
          <p14:sldIdLst>
            <p14:sldId id="2147483208"/>
            <p14:sldId id="258"/>
            <p14:sldId id="2147480233"/>
            <p14:sldId id="2147483223"/>
            <p14:sldId id="2147483226"/>
            <p14:sldId id="2147483236"/>
            <p14:sldId id="2147483210"/>
            <p14:sldId id="2147483237"/>
            <p14:sldId id="2147483215"/>
            <p14:sldId id="1091"/>
            <p14:sldId id="2147483231"/>
            <p14:sldId id="392"/>
          </p14:sldIdLst>
        </p14:section>
      </p14:sectionLst>
    </p:ext>
    <p:ext uri="{EFAFB233-063F-42B5-8137-9DF3F51BA10A}">
      <p15:sldGuideLst xmlns:p15="http://schemas.microsoft.com/office/powerpoint/2012/main">
        <p15:guide id="1" pos="204" userDrawn="1">
          <p15:clr>
            <a:srgbClr val="A4A3A4"/>
          </p15:clr>
        </p15:guide>
        <p15:guide id="6" pos="2835" userDrawn="1">
          <p15:clr>
            <a:srgbClr val="A4A3A4"/>
          </p15:clr>
        </p15:guide>
        <p15:guide id="7" pos="2933" userDrawn="1">
          <p15:clr>
            <a:srgbClr val="A4A3A4"/>
          </p15:clr>
        </p15:guide>
        <p15:guide id="8" pos="3274" userDrawn="1">
          <p15:clr>
            <a:srgbClr val="A4A3A4"/>
          </p15:clr>
        </p15:guide>
        <p15:guide id="9" pos="1950" userDrawn="1">
          <p15:clr>
            <a:srgbClr val="A4A3A4"/>
          </p15:clr>
        </p15:guide>
        <p15:guide id="10" pos="3742" userDrawn="1">
          <p15:clr>
            <a:srgbClr val="A4A3A4"/>
          </p15:clr>
        </p15:guide>
        <p15:guide id="11" pos="3843" userDrawn="1">
          <p15:clr>
            <a:srgbClr val="A4A3A4"/>
          </p15:clr>
        </p15:guide>
        <p15:guide id="12" pos="1134" userDrawn="1">
          <p15:clr>
            <a:srgbClr val="A4A3A4"/>
          </p15:clr>
        </p15:guide>
        <p15:guide id="13" orient="horz" pos="1597" userDrawn="1">
          <p15:clr>
            <a:srgbClr val="A4A3A4"/>
          </p15:clr>
        </p15:guide>
        <p15:guide id="14" orient="horz" pos="19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697141-FEC9-0447-2259-3F53F34A2004}" name="Lenner-Vogt, M., Abt 341, BN" initials="LVMA3B" userId="S::Margit.Lenner-Vogt@deutschepost.de::c196d962-6dde-472e-97a8-f19f0d1f6b78" providerId="AD"/>
  <p188:author id="{601B7269-2DA4-93A9-6A65-96CB1B8F8392}" name="Lenner-Vogt, M., Abt 341, BN" initials="LB" userId="S::margit.lenner-vogt@deutschepost.de::c196d962-6dde-472e-97a8-f19f0d1f6b78" providerId="AD"/>
  <p188:author id="{2BDCEF6F-AED6-A647-B6C4-90BEA4BEC82D}" name="Weichenberger, Renate, Vertrieb P&amp;P, Geschäftsentwicklung" initials="WRVPG" userId="S::R.Weichenberger@DeutschePost.de::74319fe9-7672-49f9-89e2-85d7c640515c" providerId="AD"/>
  <p188:author id="{DD0184B6-FA2A-12A1-C7DE-6684E55D6391}" name="Michael Wenzelburger" initials="MWE" userId="Michael Wenzelburger" providerId="None"/>
  <p188:author id="{C23F13F7-F433-146C-3A65-07BED19D3C21}" name="Prechtl, K., Z 361" initials="P3" userId="S::katharina.prechtl@deutschepost.de::9cb3f41e-4ba4-4748-86d4-34699c4bc7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Kaiser, F., Abt 341, BN" initials="KFA3B" lastIdx="1" clrIdx="6">
    <p:extLst>
      <p:ext uri="{19B8F6BF-5375-455C-9EA6-DF929625EA0E}">
        <p15:presenceInfo xmlns:p15="http://schemas.microsoft.com/office/powerpoint/2012/main" userId="S::felix.kaiser@deutschepost.de::6143a204-01cf-4d6a-ab0b-e551f2301ef2" providerId="AD"/>
      </p:ext>
    </p:extLst>
  </p:cmAuthor>
  <p:cmAuthor id="1" name="Maike Schmidt" initials="MS" lastIdx="3" clrIdx="0">
    <p:extLst>
      <p:ext uri="{19B8F6BF-5375-455C-9EA6-DF929625EA0E}">
        <p15:presenceInfo xmlns:p15="http://schemas.microsoft.com/office/powerpoint/2012/main" userId="S::maike.schmidt@strategy-compass.com::b4eb969c-01b2-4915-aef7-794a5e1eccdc" providerId="AD"/>
      </p:ext>
    </p:extLst>
  </p:cmAuthor>
  <p:cmAuthor id="8" name="Yanis Lathrache (DHL Consulting)" initials="YL(C" lastIdx="5" clrIdx="7">
    <p:extLst>
      <p:ext uri="{19B8F6BF-5375-455C-9EA6-DF929625EA0E}">
        <p15:presenceInfo xmlns:p15="http://schemas.microsoft.com/office/powerpoint/2012/main" userId="S-1-5-21-2763872571-2999947588-3099097816-5749491" providerId="AD"/>
      </p:ext>
    </p:extLst>
  </p:cmAuthor>
  <p:cmAuthor id="2" name="Frese, P., Parcel Europe" initials="FPPE" lastIdx="5" clrIdx="1">
    <p:extLst>
      <p:ext uri="{19B8F6BF-5375-455C-9EA6-DF929625EA0E}">
        <p15:presenceInfo xmlns:p15="http://schemas.microsoft.com/office/powerpoint/2012/main" userId="S-1-5-21-2763872571-2999947588-3099097816-2307768" providerId="AD"/>
      </p:ext>
    </p:extLst>
  </p:cmAuthor>
  <p:cmAuthor id="3" name="Knieper, Z 712, BN" initials="KZ7B" lastIdx="19" clrIdx="2">
    <p:extLst>
      <p:ext uri="{19B8F6BF-5375-455C-9EA6-DF929625EA0E}">
        <p15:presenceInfo xmlns:p15="http://schemas.microsoft.com/office/powerpoint/2012/main" userId="S-1-5-21-2763872571-2999947588-3099097816-930367" providerId="AD"/>
      </p:ext>
    </p:extLst>
  </p:cmAuthor>
  <p:cmAuthor id="4" name="Lenner-Vogt, M., Abt 341, BN" initials="LMA3B" lastIdx="16" clrIdx="3">
    <p:extLst>
      <p:ext uri="{19B8F6BF-5375-455C-9EA6-DF929625EA0E}">
        <p15:presenceInfo xmlns:p15="http://schemas.microsoft.com/office/powerpoint/2012/main" userId="S-1-5-21-2763872571-2999947588-3099097816-1130998" providerId="AD"/>
      </p:ext>
    </p:extLst>
  </p:cmAuthor>
  <p:cmAuthor id="5" name="Meiser, P., Abt 342, BN" initials="MPA3B" lastIdx="13" clrIdx="4">
    <p:extLst>
      <p:ext uri="{19B8F6BF-5375-455C-9EA6-DF929625EA0E}">
        <p15:presenceInfo xmlns:p15="http://schemas.microsoft.com/office/powerpoint/2012/main" userId="S::Patrick.Meiser@DeutschePost.de::8cc36881-f9dd-4b71-a2a9-0c1195a08f4b" providerId="AD"/>
      </p:ext>
    </p:extLst>
  </p:cmAuthor>
  <p:cmAuthor id="6" name="Daum, PCS, BN" initials="DPB" lastIdx="9" clrIdx="5">
    <p:extLst>
      <p:ext uri="{19B8F6BF-5375-455C-9EA6-DF929625EA0E}">
        <p15:presenceInfo xmlns:p15="http://schemas.microsoft.com/office/powerpoint/2012/main" userId="S-1-5-21-2763872571-2999947588-3099097816-11164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43"/>
    <a:srgbClr val="FFF0B1"/>
    <a:srgbClr val="FFEDA1"/>
    <a:srgbClr val="E2E8E3"/>
    <a:srgbClr val="EDF6F1"/>
    <a:srgbClr val="E6E6E6"/>
    <a:srgbClr val="B3D1C7"/>
    <a:srgbClr val="301506"/>
    <a:srgbClr val="FECC00"/>
    <a:srgbClr val="93CD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7458A2-50CC-4EEC-BDA8-19D7694BC834}" v="46" dt="2025-05-28T12:51:39.528"/>
  </p1510:revLst>
</p1510:revInfo>
</file>

<file path=ppt/tableStyles.xml><?xml version="1.0" encoding="utf-8"?>
<a:tblStyleLst xmlns:a="http://schemas.openxmlformats.org/drawingml/2006/main" def="{09810C2D-2C2F-4581-8AFF-CD78C2D722A2}">
  <a:tblStyle styleId="{09810C2D-2C2F-4581-8AFF-CD78C2D722A2}" styleName="DHL Table No BG">
    <a:tblBg>
      <a:fill>
        <a:noFill/>
      </a:fill>
    </a:tblBg>
    <a:wholeTbl>
      <a:tcTxStyle>
        <a:fontRef idx="minor"/>
        <a:schemeClr val="tx1"/>
      </a:tcTxStyle>
      <a:tcStyle>
        <a:tcBdr>
          <a:left>
            <a:ln>
              <a:noFill/>
            </a:ln>
          </a:left>
          <a:right>
            <a:ln>
              <a:noFill/>
            </a:ln>
          </a:right>
          <a:top>
            <a:ln w="28575" cmpd="sng">
              <a:solidFill>
                <a:schemeClr val="accent4"/>
              </a:solidFill>
            </a:ln>
          </a:top>
          <a:bottom>
            <a:ln w="28575" cmpd="sng">
              <a:solidFill>
                <a:schemeClr val="accent4"/>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HL Table White BG">
    <a:tblBg>
      <a:fill>
        <a:noFill/>
      </a:fill>
    </a:tblBg>
    <a:wholeTbl>
      <a:tcTxStyle>
        <a:fontRef idx="minor"/>
        <a:schemeClr val="tx1"/>
      </a:tcTxStyle>
      <a:tcStyle>
        <a:tcBdr>
          <a:left>
            <a:ln>
              <a:noFill/>
            </a:ln>
          </a:left>
          <a:right>
            <a:ln>
              <a:noFill/>
            </a:ln>
          </a:right>
          <a:top>
            <a:ln w="28575" cmpd="sng">
              <a:solidFill>
                <a:schemeClr val="accent4"/>
              </a:solidFill>
            </a:ln>
          </a:top>
          <a:bottom>
            <a:ln w="28575" cmpd="sng">
              <a:solidFill>
                <a:schemeClr val="accent4"/>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04"/>
        <p:guide pos="2835"/>
        <p:guide pos="2933"/>
        <p:guide pos="3274"/>
        <p:guide pos="1950"/>
        <p:guide pos="3742"/>
        <p:guide pos="3843"/>
        <p:guide pos="1134"/>
        <p:guide orient="horz" pos="1597"/>
        <p:guide orient="horz" pos="19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iemelt, Felix, GB 15S, BN" userId="be9302ee-4987-448c-b9df-d811cd9075ff" providerId="ADAL" clId="{277458A2-50CC-4EEC-BDA8-19D7694BC834}"/>
    <pc:docChg chg="undo custSel addSld delSld modSld modMainMaster modSection">
      <pc:chgData name="Friemelt, Felix, GB 15S, BN" userId="be9302ee-4987-448c-b9df-d811cd9075ff" providerId="ADAL" clId="{277458A2-50CC-4EEC-BDA8-19D7694BC834}" dt="2025-05-28T12:51:39.528" v="595" actId="27614"/>
      <pc:docMkLst>
        <pc:docMk/>
      </pc:docMkLst>
      <pc:sldChg chg="modSp">
        <pc:chgData name="Friemelt, Felix, GB 15S, BN" userId="be9302ee-4987-448c-b9df-d811cd9075ff" providerId="ADAL" clId="{277458A2-50CC-4EEC-BDA8-19D7694BC834}" dt="2025-05-27T14:44:14.049" v="66"/>
        <pc:sldMkLst>
          <pc:docMk/>
          <pc:sldMk cId="2840314008" sldId="1091"/>
        </pc:sldMkLst>
        <pc:spChg chg="mod">
          <ac:chgData name="Friemelt, Felix, GB 15S, BN" userId="be9302ee-4987-448c-b9df-d811cd9075ff" providerId="ADAL" clId="{277458A2-50CC-4EEC-BDA8-19D7694BC834}" dt="2025-05-27T14:44:14.049" v="66"/>
          <ac:spMkLst>
            <pc:docMk/>
            <pc:sldMk cId="2840314008" sldId="1091"/>
            <ac:spMk id="7" creationId="{CC9B55D9-CE2A-5528-4150-666A7274BA7C}"/>
          </ac:spMkLst>
        </pc:spChg>
      </pc:sldChg>
      <pc:sldChg chg="modSp">
        <pc:chgData name="Friemelt, Felix, GB 15S, BN" userId="be9302ee-4987-448c-b9df-d811cd9075ff" providerId="ADAL" clId="{277458A2-50CC-4EEC-BDA8-19D7694BC834}" dt="2025-05-27T14:44:14.049" v="66"/>
        <pc:sldMkLst>
          <pc:docMk/>
          <pc:sldMk cId="617875257" sldId="2147480233"/>
        </pc:sldMkLst>
        <pc:spChg chg="mod">
          <ac:chgData name="Friemelt, Felix, GB 15S, BN" userId="be9302ee-4987-448c-b9df-d811cd9075ff" providerId="ADAL" clId="{277458A2-50CC-4EEC-BDA8-19D7694BC834}" dt="2025-05-27T14:44:14.049" v="66"/>
          <ac:spMkLst>
            <pc:docMk/>
            <pc:sldMk cId="617875257" sldId="2147480233"/>
            <ac:spMk id="5" creationId="{FB4BD222-D748-50FD-5C0D-89E4D8E18143}"/>
          </ac:spMkLst>
        </pc:spChg>
      </pc:sldChg>
      <pc:sldChg chg="del">
        <pc:chgData name="Friemelt, Felix, GB 15S, BN" userId="be9302ee-4987-448c-b9df-d811cd9075ff" providerId="ADAL" clId="{277458A2-50CC-4EEC-BDA8-19D7694BC834}" dt="2025-05-27T14:41:27.981" v="54" actId="47"/>
        <pc:sldMkLst>
          <pc:docMk/>
          <pc:sldMk cId="4206366474" sldId="2147480234"/>
        </pc:sldMkLst>
      </pc:sldChg>
      <pc:sldChg chg="modSp mod">
        <pc:chgData name="Friemelt, Felix, GB 15S, BN" userId="be9302ee-4987-448c-b9df-d811cd9075ff" providerId="ADAL" clId="{277458A2-50CC-4EEC-BDA8-19D7694BC834}" dt="2025-05-27T14:44:58.536" v="83" actId="1035"/>
        <pc:sldMkLst>
          <pc:docMk/>
          <pc:sldMk cId="1847433860" sldId="2147483208"/>
        </pc:sldMkLst>
        <pc:spChg chg="mod">
          <ac:chgData name="Friemelt, Felix, GB 15S, BN" userId="be9302ee-4987-448c-b9df-d811cd9075ff" providerId="ADAL" clId="{277458A2-50CC-4EEC-BDA8-19D7694BC834}" dt="2025-05-27T14:44:50.599" v="74" actId="1036"/>
          <ac:spMkLst>
            <pc:docMk/>
            <pc:sldMk cId="1847433860" sldId="2147483208"/>
            <ac:spMk id="6" creationId="{532D3FB5-FE9D-2F70-C54B-D3C3BC2D30A3}"/>
          </ac:spMkLst>
        </pc:spChg>
        <pc:spChg chg="mod">
          <ac:chgData name="Friemelt, Felix, GB 15S, BN" userId="be9302ee-4987-448c-b9df-d811cd9075ff" providerId="ADAL" clId="{277458A2-50CC-4EEC-BDA8-19D7694BC834}" dt="2025-05-27T14:44:58.536" v="83" actId="1035"/>
          <ac:spMkLst>
            <pc:docMk/>
            <pc:sldMk cId="1847433860" sldId="2147483208"/>
            <ac:spMk id="15" creationId="{156AB977-115A-5D6E-DAEA-BD0F11F0D35E}"/>
          </ac:spMkLst>
        </pc:spChg>
        <pc:spChg chg="mod">
          <ac:chgData name="Friemelt, Felix, GB 15S, BN" userId="be9302ee-4987-448c-b9df-d811cd9075ff" providerId="ADAL" clId="{277458A2-50CC-4EEC-BDA8-19D7694BC834}" dt="2025-05-27T14:44:58.536" v="83" actId="1035"/>
          <ac:spMkLst>
            <pc:docMk/>
            <pc:sldMk cId="1847433860" sldId="2147483208"/>
            <ac:spMk id="16" creationId="{6229A5F5-FC77-1E2A-4731-297694053C40}"/>
          </ac:spMkLst>
        </pc:spChg>
      </pc:sldChg>
      <pc:sldChg chg="modSp mod">
        <pc:chgData name="Friemelt, Felix, GB 15S, BN" userId="be9302ee-4987-448c-b9df-d811cd9075ff" providerId="ADAL" clId="{277458A2-50CC-4EEC-BDA8-19D7694BC834}" dt="2025-05-28T12:15:00.988" v="220" actId="207"/>
        <pc:sldMkLst>
          <pc:docMk/>
          <pc:sldMk cId="1954430889" sldId="2147483210"/>
        </pc:sldMkLst>
        <pc:spChg chg="mod">
          <ac:chgData name="Friemelt, Felix, GB 15S, BN" userId="be9302ee-4987-448c-b9df-d811cd9075ff" providerId="ADAL" clId="{277458A2-50CC-4EEC-BDA8-19D7694BC834}" dt="2025-05-28T12:15:00.988" v="220" actId="207"/>
          <ac:spMkLst>
            <pc:docMk/>
            <pc:sldMk cId="1954430889" sldId="2147483210"/>
            <ac:spMk id="2" creationId="{B6B6FB23-BFF1-4F14-9E78-7D16429C0629}"/>
          </ac:spMkLst>
        </pc:spChg>
        <pc:spChg chg="mod">
          <ac:chgData name="Friemelt, Felix, GB 15S, BN" userId="be9302ee-4987-448c-b9df-d811cd9075ff" providerId="ADAL" clId="{277458A2-50CC-4EEC-BDA8-19D7694BC834}" dt="2025-05-27T14:44:14.049" v="66"/>
          <ac:spMkLst>
            <pc:docMk/>
            <pc:sldMk cId="1954430889" sldId="2147483210"/>
            <ac:spMk id="6" creationId="{00000000-0000-0000-0000-000000000000}"/>
          </ac:spMkLst>
        </pc:spChg>
      </pc:sldChg>
      <pc:sldChg chg="modSp">
        <pc:chgData name="Friemelt, Felix, GB 15S, BN" userId="be9302ee-4987-448c-b9df-d811cd9075ff" providerId="ADAL" clId="{277458A2-50CC-4EEC-BDA8-19D7694BC834}" dt="2025-05-27T14:44:14.049" v="66"/>
        <pc:sldMkLst>
          <pc:docMk/>
          <pc:sldMk cId="3218563946" sldId="2147483215"/>
        </pc:sldMkLst>
        <pc:spChg chg="mod">
          <ac:chgData name="Friemelt, Felix, GB 15S, BN" userId="be9302ee-4987-448c-b9df-d811cd9075ff" providerId="ADAL" clId="{277458A2-50CC-4EEC-BDA8-19D7694BC834}" dt="2025-05-27T14:44:14.049" v="66"/>
          <ac:spMkLst>
            <pc:docMk/>
            <pc:sldMk cId="3218563946" sldId="2147483215"/>
            <ac:spMk id="3" creationId="{AAA75A27-BFC5-CA1D-3B9D-F81059FD57E7}"/>
          </ac:spMkLst>
        </pc:spChg>
      </pc:sldChg>
      <pc:sldChg chg="modSp">
        <pc:chgData name="Friemelt, Felix, GB 15S, BN" userId="be9302ee-4987-448c-b9df-d811cd9075ff" providerId="ADAL" clId="{277458A2-50CC-4EEC-BDA8-19D7694BC834}" dt="2025-05-27T14:44:14.049" v="66"/>
        <pc:sldMkLst>
          <pc:docMk/>
          <pc:sldMk cId="1313760152" sldId="2147483223"/>
        </pc:sldMkLst>
        <pc:spChg chg="mod">
          <ac:chgData name="Friemelt, Felix, GB 15S, BN" userId="be9302ee-4987-448c-b9df-d811cd9075ff" providerId="ADAL" clId="{277458A2-50CC-4EEC-BDA8-19D7694BC834}" dt="2025-05-27T14:44:14.049" v="66"/>
          <ac:spMkLst>
            <pc:docMk/>
            <pc:sldMk cId="1313760152" sldId="2147483223"/>
            <ac:spMk id="53" creationId="{E94B7F72-8770-9C8D-6272-1FBE2F278AD4}"/>
          </ac:spMkLst>
        </pc:spChg>
      </pc:sldChg>
      <pc:sldChg chg="addSp delSp modSp mod">
        <pc:chgData name="Friemelt, Felix, GB 15S, BN" userId="be9302ee-4987-448c-b9df-d811cd9075ff" providerId="ADAL" clId="{277458A2-50CC-4EEC-BDA8-19D7694BC834}" dt="2025-05-28T12:31:28.492" v="527" actId="6549"/>
        <pc:sldMkLst>
          <pc:docMk/>
          <pc:sldMk cId="2131455875" sldId="2147483226"/>
        </pc:sldMkLst>
        <pc:spChg chg="mod">
          <ac:chgData name="Friemelt, Felix, GB 15S, BN" userId="be9302ee-4987-448c-b9df-d811cd9075ff" providerId="ADAL" clId="{277458A2-50CC-4EEC-BDA8-19D7694BC834}" dt="2025-05-27T14:44:14.049" v="66"/>
          <ac:spMkLst>
            <pc:docMk/>
            <pc:sldMk cId="2131455875" sldId="2147483226"/>
            <ac:spMk id="2" creationId="{53528448-1929-666C-E3D4-1251960D4474}"/>
          </ac:spMkLst>
        </pc:spChg>
        <pc:spChg chg="mod">
          <ac:chgData name="Friemelt, Felix, GB 15S, BN" userId="be9302ee-4987-448c-b9df-d811cd9075ff" providerId="ADAL" clId="{277458A2-50CC-4EEC-BDA8-19D7694BC834}" dt="2025-05-28T12:31:28.492" v="527" actId="6549"/>
          <ac:spMkLst>
            <pc:docMk/>
            <pc:sldMk cId="2131455875" sldId="2147483226"/>
            <ac:spMk id="4" creationId="{B99C23D7-C285-4821-D816-18E164FFFFD8}"/>
          </ac:spMkLst>
        </pc:spChg>
        <pc:spChg chg="add del mod">
          <ac:chgData name="Friemelt, Felix, GB 15S, BN" userId="be9302ee-4987-448c-b9df-d811cd9075ff" providerId="ADAL" clId="{277458A2-50CC-4EEC-BDA8-19D7694BC834}" dt="2025-05-28T12:31:27.430" v="525" actId="478"/>
          <ac:spMkLst>
            <pc:docMk/>
            <pc:sldMk cId="2131455875" sldId="2147483226"/>
            <ac:spMk id="10" creationId="{FE137E43-ED3F-4937-6CCA-A1800F59EF66}"/>
          </ac:spMkLst>
        </pc:spChg>
        <pc:picChg chg="del">
          <ac:chgData name="Friemelt, Felix, GB 15S, BN" userId="be9302ee-4987-448c-b9df-d811cd9075ff" providerId="ADAL" clId="{277458A2-50CC-4EEC-BDA8-19D7694BC834}" dt="2025-05-27T14:43:01.754" v="65" actId="478"/>
          <ac:picMkLst>
            <pc:docMk/>
            <pc:sldMk cId="2131455875" sldId="2147483226"/>
            <ac:picMk id="16" creationId="{80C5A2BE-FCEB-C8C6-7EDE-6C9143591C0B}"/>
          </ac:picMkLst>
        </pc:picChg>
        <pc:picChg chg="add mod ord modCrop">
          <ac:chgData name="Friemelt, Felix, GB 15S, BN" userId="be9302ee-4987-448c-b9df-d811cd9075ff" providerId="ADAL" clId="{277458A2-50CC-4EEC-BDA8-19D7694BC834}" dt="2025-05-27T14:43:00.065" v="64" actId="167"/>
          <ac:picMkLst>
            <pc:docMk/>
            <pc:sldMk cId="2131455875" sldId="2147483226"/>
            <ac:picMk id="20" creationId="{02851448-0500-D6E7-4527-48378351D608}"/>
          </ac:picMkLst>
        </pc:picChg>
      </pc:sldChg>
      <pc:sldChg chg="modSp">
        <pc:chgData name="Friemelt, Felix, GB 15S, BN" userId="be9302ee-4987-448c-b9df-d811cd9075ff" providerId="ADAL" clId="{277458A2-50CC-4EEC-BDA8-19D7694BC834}" dt="2025-05-27T14:44:14.049" v="66"/>
        <pc:sldMkLst>
          <pc:docMk/>
          <pc:sldMk cId="3559804075" sldId="2147483231"/>
        </pc:sldMkLst>
        <pc:spChg chg="mod">
          <ac:chgData name="Friemelt, Felix, GB 15S, BN" userId="be9302ee-4987-448c-b9df-d811cd9075ff" providerId="ADAL" clId="{277458A2-50CC-4EEC-BDA8-19D7694BC834}" dt="2025-05-27T14:44:14.049" v="66"/>
          <ac:spMkLst>
            <pc:docMk/>
            <pc:sldMk cId="3559804075" sldId="2147483231"/>
            <ac:spMk id="7" creationId="{CC9B55D9-CE2A-5528-4150-666A7274BA7C}"/>
          </ac:spMkLst>
        </pc:spChg>
      </pc:sldChg>
      <pc:sldChg chg="addSp delSp modSp mod">
        <pc:chgData name="Friemelt, Felix, GB 15S, BN" userId="be9302ee-4987-448c-b9df-d811cd9075ff" providerId="ADAL" clId="{277458A2-50CC-4EEC-BDA8-19D7694BC834}" dt="2025-05-28T12:34:00.780" v="565" actId="1037"/>
        <pc:sldMkLst>
          <pc:docMk/>
          <pc:sldMk cId="4166185289" sldId="2147483236"/>
        </pc:sldMkLst>
        <pc:spChg chg="add mod ord">
          <ac:chgData name="Friemelt, Felix, GB 15S, BN" userId="be9302ee-4987-448c-b9df-d811cd9075ff" providerId="ADAL" clId="{277458A2-50CC-4EEC-BDA8-19D7694BC834}" dt="2025-05-28T12:33:01.201" v="542" actId="166"/>
          <ac:spMkLst>
            <pc:docMk/>
            <pc:sldMk cId="4166185289" sldId="2147483236"/>
            <ac:spMk id="2" creationId="{78132725-98FF-6BD6-C8DF-5BB78C3C66DE}"/>
          </ac:spMkLst>
        </pc:spChg>
        <pc:spChg chg="add del mod">
          <ac:chgData name="Friemelt, Felix, GB 15S, BN" userId="be9302ee-4987-448c-b9df-d811cd9075ff" providerId="ADAL" clId="{277458A2-50CC-4EEC-BDA8-19D7694BC834}" dt="2025-05-28T12:33:02.034" v="544" actId="11529"/>
          <ac:spMkLst>
            <pc:docMk/>
            <pc:sldMk cId="4166185289" sldId="2147483236"/>
            <ac:spMk id="3" creationId="{2FFCEA61-6BCA-158C-6C03-342E9B6346C7}"/>
          </ac:spMkLst>
        </pc:spChg>
        <pc:spChg chg="add mod">
          <ac:chgData name="Friemelt, Felix, GB 15S, BN" userId="be9302ee-4987-448c-b9df-d811cd9075ff" providerId="ADAL" clId="{277458A2-50CC-4EEC-BDA8-19D7694BC834}" dt="2025-05-28T12:34:00.780" v="565" actId="1037"/>
          <ac:spMkLst>
            <pc:docMk/>
            <pc:sldMk cId="4166185289" sldId="2147483236"/>
            <ac:spMk id="5" creationId="{F49DF173-5E6C-9833-65C4-56D5D83DBBC0}"/>
          </ac:spMkLst>
        </pc:spChg>
        <pc:spChg chg="add mod">
          <ac:chgData name="Friemelt, Felix, GB 15S, BN" userId="be9302ee-4987-448c-b9df-d811cd9075ff" providerId="ADAL" clId="{277458A2-50CC-4EEC-BDA8-19D7694BC834}" dt="2025-05-28T12:33:43.356" v="559" actId="1076"/>
          <ac:spMkLst>
            <pc:docMk/>
            <pc:sldMk cId="4166185289" sldId="2147483236"/>
            <ac:spMk id="7" creationId="{25E2BD60-21F2-6493-DC89-E1EFD73FD70C}"/>
          </ac:spMkLst>
        </pc:spChg>
        <pc:spChg chg="add mod">
          <ac:chgData name="Friemelt, Felix, GB 15S, BN" userId="be9302ee-4987-448c-b9df-d811cd9075ff" providerId="ADAL" clId="{277458A2-50CC-4EEC-BDA8-19D7694BC834}" dt="2025-05-28T12:33:50.930" v="562" actId="1037"/>
          <ac:spMkLst>
            <pc:docMk/>
            <pc:sldMk cId="4166185289" sldId="2147483236"/>
            <ac:spMk id="8" creationId="{85524373-8505-0907-9D51-83F24C8DB8E1}"/>
          </ac:spMkLst>
        </pc:spChg>
        <pc:spChg chg="mod">
          <ac:chgData name="Friemelt, Felix, GB 15S, BN" userId="be9302ee-4987-448c-b9df-d811cd9075ff" providerId="ADAL" clId="{277458A2-50CC-4EEC-BDA8-19D7694BC834}" dt="2025-05-28T12:33:19.387" v="552" actId="14100"/>
          <ac:spMkLst>
            <pc:docMk/>
            <pc:sldMk cId="4166185289" sldId="2147483236"/>
            <ac:spMk id="13" creationId="{7AAC8454-435A-6C5E-9E4A-D458CB49420B}"/>
          </ac:spMkLst>
        </pc:spChg>
        <pc:spChg chg="add del ord">
          <ac:chgData name="Friemelt, Felix, GB 15S, BN" userId="be9302ee-4987-448c-b9df-d811cd9075ff" providerId="ADAL" clId="{277458A2-50CC-4EEC-BDA8-19D7694BC834}" dt="2025-05-28T12:33:01.201" v="542" actId="166"/>
          <ac:spMkLst>
            <pc:docMk/>
            <pc:sldMk cId="4166185289" sldId="2147483236"/>
            <ac:spMk id="14" creationId="{B597275A-1926-12A2-5E1A-97F441CF753F}"/>
          </ac:spMkLst>
        </pc:spChg>
      </pc:sldChg>
      <pc:sldChg chg="addSp delSp modSp add mod">
        <pc:chgData name="Friemelt, Felix, GB 15S, BN" userId="be9302ee-4987-448c-b9df-d811cd9075ff" providerId="ADAL" clId="{277458A2-50CC-4EEC-BDA8-19D7694BC834}" dt="2025-05-28T12:51:39.528" v="595" actId="27614"/>
        <pc:sldMkLst>
          <pc:docMk/>
          <pc:sldMk cId="2611592703" sldId="2147483237"/>
        </pc:sldMkLst>
        <pc:spChg chg="mod">
          <ac:chgData name="Friemelt, Felix, GB 15S, BN" userId="be9302ee-4987-448c-b9df-d811cd9075ff" providerId="ADAL" clId="{277458A2-50CC-4EEC-BDA8-19D7694BC834}" dt="2025-05-28T12:24:03.919" v="492" actId="20577"/>
          <ac:spMkLst>
            <pc:docMk/>
            <pc:sldMk cId="2611592703" sldId="2147483237"/>
            <ac:spMk id="2" creationId="{B6B6FB23-BFF1-4F14-9E78-7D16429C0629}"/>
          </ac:spMkLst>
        </pc:spChg>
        <pc:spChg chg="del">
          <ac:chgData name="Friemelt, Felix, GB 15S, BN" userId="be9302ee-4987-448c-b9df-d811cd9075ff" providerId="ADAL" clId="{277458A2-50CC-4EEC-BDA8-19D7694BC834}" dt="2025-05-28T12:12:58.790" v="89" actId="478"/>
          <ac:spMkLst>
            <pc:docMk/>
            <pc:sldMk cId="2611592703" sldId="2147483237"/>
            <ac:spMk id="3" creationId="{BA95F2B6-AADE-E6F1-AE2B-67397DB521DB}"/>
          </ac:spMkLst>
        </pc:spChg>
        <pc:spChg chg="add del mod">
          <ac:chgData name="Friemelt, Felix, GB 15S, BN" userId="be9302ee-4987-448c-b9df-d811cd9075ff" providerId="ADAL" clId="{277458A2-50CC-4EEC-BDA8-19D7694BC834}" dt="2025-05-28T12:51:26.703" v="592" actId="478"/>
          <ac:spMkLst>
            <pc:docMk/>
            <pc:sldMk cId="2611592703" sldId="2147483237"/>
            <ac:spMk id="3" creationId="{C9FE1BF4-D278-E4BF-54BF-6BDC930400A0}"/>
          </ac:spMkLst>
        </pc:spChg>
        <pc:spChg chg="add del mod">
          <ac:chgData name="Friemelt, Felix, GB 15S, BN" userId="be9302ee-4987-448c-b9df-d811cd9075ff" providerId="ADAL" clId="{277458A2-50CC-4EEC-BDA8-19D7694BC834}" dt="2025-05-28T12:25:29.554" v="501" actId="478"/>
          <ac:spMkLst>
            <pc:docMk/>
            <pc:sldMk cId="2611592703" sldId="2147483237"/>
            <ac:spMk id="10" creationId="{5FFAFF47-ABBF-03A7-792C-A14AE63F687F}"/>
          </ac:spMkLst>
        </pc:spChg>
        <pc:spChg chg="add mod ord">
          <ac:chgData name="Friemelt, Felix, GB 15S, BN" userId="be9302ee-4987-448c-b9df-d811cd9075ff" providerId="ADAL" clId="{277458A2-50CC-4EEC-BDA8-19D7694BC834}" dt="2025-05-28T12:24:22.623" v="494" actId="14100"/>
          <ac:spMkLst>
            <pc:docMk/>
            <pc:sldMk cId="2611592703" sldId="2147483237"/>
            <ac:spMk id="13" creationId="{5207DC9B-01B9-65AE-0912-D14ADBB5B946}"/>
          </ac:spMkLst>
        </pc:spChg>
        <pc:spChg chg="del">
          <ac:chgData name="Friemelt, Felix, GB 15S, BN" userId="be9302ee-4987-448c-b9df-d811cd9075ff" providerId="ADAL" clId="{277458A2-50CC-4EEC-BDA8-19D7694BC834}" dt="2025-05-28T12:12:51.602" v="86" actId="478"/>
          <ac:spMkLst>
            <pc:docMk/>
            <pc:sldMk cId="2611592703" sldId="2147483237"/>
            <ac:spMk id="21" creationId="{26CAE2E4-8E8F-9FB7-F1D9-6A4C644E17CA}"/>
          </ac:spMkLst>
        </pc:spChg>
        <pc:spChg chg="del">
          <ac:chgData name="Friemelt, Felix, GB 15S, BN" userId="be9302ee-4987-448c-b9df-d811cd9075ff" providerId="ADAL" clId="{277458A2-50CC-4EEC-BDA8-19D7694BC834}" dt="2025-05-28T12:12:50.737" v="85" actId="478"/>
          <ac:spMkLst>
            <pc:docMk/>
            <pc:sldMk cId="2611592703" sldId="2147483237"/>
            <ac:spMk id="22" creationId="{3D78116A-10FC-6091-16A3-2852FE3390B0}"/>
          </ac:spMkLst>
        </pc:spChg>
        <pc:spChg chg="add mod ord">
          <ac:chgData name="Friemelt, Felix, GB 15S, BN" userId="be9302ee-4987-448c-b9df-d811cd9075ff" providerId="ADAL" clId="{277458A2-50CC-4EEC-BDA8-19D7694BC834}" dt="2025-05-28T12:23:38.698" v="475" actId="167"/>
          <ac:spMkLst>
            <pc:docMk/>
            <pc:sldMk cId="2611592703" sldId="2147483237"/>
            <ac:spMk id="24" creationId="{3A160CC9-C80D-041E-4614-9DB09C3487E2}"/>
          </ac:spMkLst>
        </pc:spChg>
        <pc:spChg chg="del">
          <ac:chgData name="Friemelt, Felix, GB 15S, BN" userId="be9302ee-4987-448c-b9df-d811cd9075ff" providerId="ADAL" clId="{277458A2-50CC-4EEC-BDA8-19D7694BC834}" dt="2025-05-28T12:17:46.239" v="330" actId="478"/>
          <ac:spMkLst>
            <pc:docMk/>
            <pc:sldMk cId="2611592703" sldId="2147483237"/>
            <ac:spMk id="25" creationId="{71B7CACE-BD70-F3A6-CCC9-62CB7F7E40CB}"/>
          </ac:spMkLst>
        </pc:spChg>
        <pc:spChg chg="add mod ord">
          <ac:chgData name="Friemelt, Felix, GB 15S, BN" userId="be9302ee-4987-448c-b9df-d811cd9075ff" providerId="ADAL" clId="{277458A2-50CC-4EEC-BDA8-19D7694BC834}" dt="2025-05-28T12:23:38.698" v="475" actId="167"/>
          <ac:spMkLst>
            <pc:docMk/>
            <pc:sldMk cId="2611592703" sldId="2147483237"/>
            <ac:spMk id="26" creationId="{FFDA5C4F-20EB-B7C8-723A-E04CD7DF05A0}"/>
          </ac:spMkLst>
        </pc:spChg>
        <pc:grpChg chg="del">
          <ac:chgData name="Friemelt, Felix, GB 15S, BN" userId="be9302ee-4987-448c-b9df-d811cd9075ff" providerId="ADAL" clId="{277458A2-50CC-4EEC-BDA8-19D7694BC834}" dt="2025-05-28T12:12:56.105" v="88" actId="478"/>
          <ac:grpSpMkLst>
            <pc:docMk/>
            <pc:sldMk cId="2611592703" sldId="2147483237"/>
            <ac:grpSpMk id="23" creationId="{EAF5D928-65FA-1EF1-2056-E40C3D446515}"/>
          </ac:grpSpMkLst>
        </pc:grpChg>
        <pc:picChg chg="add del mod modCrop">
          <ac:chgData name="Friemelt, Felix, GB 15S, BN" userId="be9302ee-4987-448c-b9df-d811cd9075ff" providerId="ADAL" clId="{277458A2-50CC-4EEC-BDA8-19D7694BC834}" dt="2025-05-28T12:25:28.041" v="500" actId="478"/>
          <ac:picMkLst>
            <pc:docMk/>
            <pc:sldMk cId="2611592703" sldId="2147483237"/>
            <ac:picMk id="9" creationId="{96472495-AA75-847D-4DDE-711764D822FA}"/>
          </ac:picMkLst>
        </pc:picChg>
        <pc:picChg chg="add mod">
          <ac:chgData name="Friemelt, Felix, GB 15S, BN" userId="be9302ee-4987-448c-b9df-d811cd9075ff" providerId="ADAL" clId="{277458A2-50CC-4EEC-BDA8-19D7694BC834}" dt="2025-05-28T12:51:39.528" v="595" actId="27614"/>
          <ac:picMkLst>
            <pc:docMk/>
            <pc:sldMk cId="2611592703" sldId="2147483237"/>
            <ac:picMk id="9" creationId="{B48D3ABB-99B0-9321-64AD-70B7FC7EE585}"/>
          </ac:picMkLst>
        </pc:picChg>
        <pc:picChg chg="add del mod ord modCrop">
          <ac:chgData name="Friemelt, Felix, GB 15S, BN" userId="be9302ee-4987-448c-b9df-d811cd9075ff" providerId="ADAL" clId="{277458A2-50CC-4EEC-BDA8-19D7694BC834}" dt="2025-05-28T12:25:31.240" v="503" actId="478"/>
          <ac:picMkLst>
            <pc:docMk/>
            <pc:sldMk cId="2611592703" sldId="2147483237"/>
            <ac:picMk id="11" creationId="{F3E18D81-0486-2786-133E-955F0B356CC3}"/>
          </ac:picMkLst>
        </pc:picChg>
        <pc:picChg chg="add del mod modCrop">
          <ac:chgData name="Friemelt, Felix, GB 15S, BN" userId="be9302ee-4987-448c-b9df-d811cd9075ff" providerId="ADAL" clId="{277458A2-50CC-4EEC-BDA8-19D7694BC834}" dt="2025-05-28T12:25:30.075" v="502" actId="478"/>
          <ac:picMkLst>
            <pc:docMk/>
            <pc:sldMk cId="2611592703" sldId="2147483237"/>
            <ac:picMk id="12" creationId="{B4083B7D-6002-9AAF-3761-45C499648C21}"/>
          </ac:picMkLst>
        </pc:picChg>
        <pc:picChg chg="add mod ord modCrop">
          <ac:chgData name="Friemelt, Felix, GB 15S, BN" userId="be9302ee-4987-448c-b9df-d811cd9075ff" providerId="ADAL" clId="{277458A2-50CC-4EEC-BDA8-19D7694BC834}" dt="2025-05-28T12:23:38.698" v="475" actId="167"/>
          <ac:picMkLst>
            <pc:docMk/>
            <pc:sldMk cId="2611592703" sldId="2147483237"/>
            <ac:picMk id="16" creationId="{354D25E9-C68C-7012-7B2F-7F1882C21A5F}"/>
          </ac:picMkLst>
        </pc:picChg>
        <pc:picChg chg="del">
          <ac:chgData name="Friemelt, Felix, GB 15S, BN" userId="be9302ee-4987-448c-b9df-d811cd9075ff" providerId="ADAL" clId="{277458A2-50CC-4EEC-BDA8-19D7694BC834}" dt="2025-05-28T12:12:52.437" v="87" actId="478"/>
          <ac:picMkLst>
            <pc:docMk/>
            <pc:sldMk cId="2611592703" sldId="2147483237"/>
            <ac:picMk id="19" creationId="{02BE59AA-F452-E89E-A09A-AE1978E6CED3}"/>
          </ac:picMkLst>
        </pc:picChg>
        <pc:picChg chg="add del mod">
          <ac:chgData name="Friemelt, Felix, GB 15S, BN" userId="be9302ee-4987-448c-b9df-d811cd9075ff" providerId="ADAL" clId="{277458A2-50CC-4EEC-BDA8-19D7694BC834}" dt="2025-05-28T12:51:25.349" v="591" actId="478"/>
          <ac:picMkLst>
            <pc:docMk/>
            <pc:sldMk cId="2611592703" sldId="2147483237"/>
            <ac:picMk id="29" creationId="{9DD18164-553C-24AF-F3CC-5D2BD2DC7647}"/>
          </ac:picMkLst>
        </pc:picChg>
      </pc:sldChg>
      <pc:sldMasterChg chg="modSp modSldLayout">
        <pc:chgData name="Friemelt, Felix, GB 15S, BN" userId="be9302ee-4987-448c-b9df-d811cd9075ff" providerId="ADAL" clId="{277458A2-50CC-4EEC-BDA8-19D7694BC834}" dt="2025-05-27T14:44:14.049" v="66"/>
        <pc:sldMasterMkLst>
          <pc:docMk/>
          <pc:sldMasterMk cId="960127958" sldId="2147483675"/>
        </pc:sldMasterMkLst>
        <pc:spChg chg="mod">
          <ac:chgData name="Friemelt, Felix, GB 15S, BN" userId="be9302ee-4987-448c-b9df-d811cd9075ff" providerId="ADAL" clId="{277458A2-50CC-4EEC-BDA8-19D7694BC834}" dt="2025-05-27T14:44:14.049" v="66"/>
          <ac:spMkLst>
            <pc:docMk/>
            <pc:sldMasterMk cId="960127958" sldId="2147483675"/>
            <ac:spMk id="9" creationId="{CA856C2E-8F2D-41A0-AE6C-F0526A45A6EE}"/>
          </ac:spMkLst>
        </pc:spChg>
        <pc:sldLayoutChg chg="modSp">
          <pc:chgData name="Friemelt, Felix, GB 15S, BN" userId="be9302ee-4987-448c-b9df-d811cd9075ff" providerId="ADAL" clId="{277458A2-50CC-4EEC-BDA8-19D7694BC834}" dt="2025-05-27T14:44:14.049" v="66"/>
          <pc:sldLayoutMkLst>
            <pc:docMk/>
            <pc:sldMasterMk cId="960127958" sldId="2147483675"/>
            <pc:sldLayoutMk cId="681918855" sldId="2147483681"/>
          </pc:sldLayoutMkLst>
          <pc:spChg chg="mod">
            <ac:chgData name="Friemelt, Felix, GB 15S, BN" userId="be9302ee-4987-448c-b9df-d811cd9075ff" providerId="ADAL" clId="{277458A2-50CC-4EEC-BDA8-19D7694BC834}" dt="2025-05-27T14:44:14.049" v="66"/>
            <ac:spMkLst>
              <pc:docMk/>
              <pc:sldMasterMk cId="960127958" sldId="2147483675"/>
              <pc:sldLayoutMk cId="681918855" sldId="2147483681"/>
              <ac:spMk id="4" creationId="{BF134C61-AE90-4876-9405-4282167F38EE}"/>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2292667461" sldId="2147483682"/>
          </pc:sldLayoutMkLst>
          <pc:spChg chg="mod">
            <ac:chgData name="Friemelt, Felix, GB 15S, BN" userId="be9302ee-4987-448c-b9df-d811cd9075ff" providerId="ADAL" clId="{277458A2-50CC-4EEC-BDA8-19D7694BC834}" dt="2025-05-27T14:44:14.049" v="66"/>
            <ac:spMkLst>
              <pc:docMk/>
              <pc:sldMasterMk cId="960127958" sldId="2147483675"/>
              <pc:sldLayoutMk cId="2292667461" sldId="2147483682"/>
              <ac:spMk id="2" creationId="{DF55C8B4-1569-420F-94F8-0A45D58CC333}"/>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149280621" sldId="2147483683"/>
          </pc:sldLayoutMkLst>
          <pc:spChg chg="mod">
            <ac:chgData name="Friemelt, Felix, GB 15S, BN" userId="be9302ee-4987-448c-b9df-d811cd9075ff" providerId="ADAL" clId="{277458A2-50CC-4EEC-BDA8-19D7694BC834}" dt="2025-05-27T14:44:14.049" v="66"/>
            <ac:spMkLst>
              <pc:docMk/>
              <pc:sldMasterMk cId="960127958" sldId="2147483675"/>
              <pc:sldLayoutMk cId="149280621" sldId="2147483683"/>
              <ac:spMk id="3" creationId="{9F3ED683-F9E2-432B-9EE5-F787159B7C2B}"/>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4083822477" sldId="2147483684"/>
          </pc:sldLayoutMkLst>
          <pc:spChg chg="mod">
            <ac:chgData name="Friemelt, Felix, GB 15S, BN" userId="be9302ee-4987-448c-b9df-d811cd9075ff" providerId="ADAL" clId="{277458A2-50CC-4EEC-BDA8-19D7694BC834}" dt="2025-05-27T14:44:14.049" v="66"/>
            <ac:spMkLst>
              <pc:docMk/>
              <pc:sldMasterMk cId="960127958" sldId="2147483675"/>
              <pc:sldLayoutMk cId="4083822477" sldId="2147483684"/>
              <ac:spMk id="3" creationId="{3C27EF1F-9ACF-48EE-A949-EAF146453979}"/>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3933428302" sldId="2147483685"/>
          </pc:sldLayoutMkLst>
          <pc:spChg chg="mod">
            <ac:chgData name="Friemelt, Felix, GB 15S, BN" userId="be9302ee-4987-448c-b9df-d811cd9075ff" providerId="ADAL" clId="{277458A2-50CC-4EEC-BDA8-19D7694BC834}" dt="2025-05-27T14:44:14.049" v="66"/>
            <ac:spMkLst>
              <pc:docMk/>
              <pc:sldMasterMk cId="960127958" sldId="2147483675"/>
              <pc:sldLayoutMk cId="3933428302" sldId="2147483685"/>
              <ac:spMk id="3" creationId="{2D4C42CC-B85A-402A-8160-8B4CC7900462}"/>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74311275" sldId="2147483686"/>
          </pc:sldLayoutMkLst>
          <pc:spChg chg="mod">
            <ac:chgData name="Friemelt, Felix, GB 15S, BN" userId="be9302ee-4987-448c-b9df-d811cd9075ff" providerId="ADAL" clId="{277458A2-50CC-4EEC-BDA8-19D7694BC834}" dt="2025-05-27T14:44:14.049" v="66"/>
            <ac:spMkLst>
              <pc:docMk/>
              <pc:sldMasterMk cId="960127958" sldId="2147483675"/>
              <pc:sldLayoutMk cId="74311275" sldId="2147483686"/>
              <ac:spMk id="3" creationId="{B74F32AD-3FC7-4091-8554-127642F80671}"/>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817461600" sldId="2147483687"/>
          </pc:sldLayoutMkLst>
          <pc:spChg chg="mod">
            <ac:chgData name="Friemelt, Felix, GB 15S, BN" userId="be9302ee-4987-448c-b9df-d811cd9075ff" providerId="ADAL" clId="{277458A2-50CC-4EEC-BDA8-19D7694BC834}" dt="2025-05-27T14:44:14.049" v="66"/>
            <ac:spMkLst>
              <pc:docMk/>
              <pc:sldMasterMk cId="960127958" sldId="2147483675"/>
              <pc:sldLayoutMk cId="817461600" sldId="2147483687"/>
              <ac:spMk id="3" creationId="{11C21F6A-3851-4800-A70C-75B7E973A6B2}"/>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3525572086" sldId="2147483688"/>
          </pc:sldLayoutMkLst>
          <pc:spChg chg="mod">
            <ac:chgData name="Friemelt, Felix, GB 15S, BN" userId="be9302ee-4987-448c-b9df-d811cd9075ff" providerId="ADAL" clId="{277458A2-50CC-4EEC-BDA8-19D7694BC834}" dt="2025-05-27T14:44:14.049" v="66"/>
            <ac:spMkLst>
              <pc:docMk/>
              <pc:sldMasterMk cId="960127958" sldId="2147483675"/>
              <pc:sldLayoutMk cId="3525572086" sldId="2147483688"/>
              <ac:spMk id="3" creationId="{0ADC25DC-2D9E-4ABF-8944-4D2479BF7286}"/>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1424573158" sldId="2147483689"/>
          </pc:sldLayoutMkLst>
          <pc:spChg chg="mod">
            <ac:chgData name="Friemelt, Felix, GB 15S, BN" userId="be9302ee-4987-448c-b9df-d811cd9075ff" providerId="ADAL" clId="{277458A2-50CC-4EEC-BDA8-19D7694BC834}" dt="2025-05-27T14:44:14.049" v="66"/>
            <ac:spMkLst>
              <pc:docMk/>
              <pc:sldMasterMk cId="960127958" sldId="2147483675"/>
              <pc:sldLayoutMk cId="1424573158" sldId="2147483689"/>
              <ac:spMk id="3" creationId="{0ADC25DC-2D9E-4ABF-8944-4D2479BF7286}"/>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1266314126" sldId="2147483690"/>
          </pc:sldLayoutMkLst>
          <pc:spChg chg="mod">
            <ac:chgData name="Friemelt, Felix, GB 15S, BN" userId="be9302ee-4987-448c-b9df-d811cd9075ff" providerId="ADAL" clId="{277458A2-50CC-4EEC-BDA8-19D7694BC834}" dt="2025-05-27T14:44:14.049" v="66"/>
            <ac:spMkLst>
              <pc:docMk/>
              <pc:sldMasterMk cId="960127958" sldId="2147483675"/>
              <pc:sldLayoutMk cId="1266314126" sldId="2147483690"/>
              <ac:spMk id="3" creationId="{0ADC25DC-2D9E-4ABF-8944-4D2479BF7286}"/>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699742993" sldId="2147483691"/>
          </pc:sldLayoutMkLst>
          <pc:spChg chg="mod">
            <ac:chgData name="Friemelt, Felix, GB 15S, BN" userId="be9302ee-4987-448c-b9df-d811cd9075ff" providerId="ADAL" clId="{277458A2-50CC-4EEC-BDA8-19D7694BC834}" dt="2025-05-27T14:44:14.049" v="66"/>
            <ac:spMkLst>
              <pc:docMk/>
              <pc:sldMasterMk cId="960127958" sldId="2147483675"/>
              <pc:sldLayoutMk cId="699742993" sldId="2147483691"/>
              <ac:spMk id="3" creationId="{14B27B9E-C404-4AF3-A250-0969317557F4}"/>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4239868033" sldId="2147483692"/>
          </pc:sldLayoutMkLst>
          <pc:spChg chg="mod">
            <ac:chgData name="Friemelt, Felix, GB 15S, BN" userId="be9302ee-4987-448c-b9df-d811cd9075ff" providerId="ADAL" clId="{277458A2-50CC-4EEC-BDA8-19D7694BC834}" dt="2025-05-27T14:44:14.049" v="66"/>
            <ac:spMkLst>
              <pc:docMk/>
              <pc:sldMasterMk cId="960127958" sldId="2147483675"/>
              <pc:sldLayoutMk cId="4239868033" sldId="2147483692"/>
              <ac:spMk id="3" creationId="{E51FF1B3-6C52-429B-B6E4-B7B0F4F27A4B}"/>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54662190" sldId="2147483693"/>
          </pc:sldLayoutMkLst>
          <pc:spChg chg="mod">
            <ac:chgData name="Friemelt, Felix, GB 15S, BN" userId="be9302ee-4987-448c-b9df-d811cd9075ff" providerId="ADAL" clId="{277458A2-50CC-4EEC-BDA8-19D7694BC834}" dt="2025-05-27T14:44:14.049" v="66"/>
            <ac:spMkLst>
              <pc:docMk/>
              <pc:sldMasterMk cId="960127958" sldId="2147483675"/>
              <pc:sldLayoutMk cId="54662190" sldId="2147483693"/>
              <ac:spMk id="3" creationId="{16CD9EC0-783C-4E03-8B54-EB815AE37DC1}"/>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640184891" sldId="2147483695"/>
          </pc:sldLayoutMkLst>
          <pc:spChg chg="mod">
            <ac:chgData name="Friemelt, Felix, GB 15S, BN" userId="be9302ee-4987-448c-b9df-d811cd9075ff" providerId="ADAL" clId="{277458A2-50CC-4EEC-BDA8-19D7694BC834}" dt="2025-05-27T14:44:14.049" v="66"/>
            <ac:spMkLst>
              <pc:docMk/>
              <pc:sldMasterMk cId="960127958" sldId="2147483675"/>
              <pc:sldLayoutMk cId="640184891" sldId="2147483695"/>
              <ac:spMk id="3" creationId="{679381F4-F305-4DA8-90F9-2961F8C24558}"/>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2171333890" sldId="2147483696"/>
          </pc:sldLayoutMkLst>
          <pc:spChg chg="mod">
            <ac:chgData name="Friemelt, Felix, GB 15S, BN" userId="be9302ee-4987-448c-b9df-d811cd9075ff" providerId="ADAL" clId="{277458A2-50CC-4EEC-BDA8-19D7694BC834}" dt="2025-05-27T14:44:14.049" v="66"/>
            <ac:spMkLst>
              <pc:docMk/>
              <pc:sldMasterMk cId="960127958" sldId="2147483675"/>
              <pc:sldLayoutMk cId="2171333890" sldId="2147483696"/>
              <ac:spMk id="3" creationId="{679381F4-F305-4DA8-90F9-2961F8C24558}"/>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2392644439" sldId="2147483810"/>
          </pc:sldLayoutMkLst>
          <pc:spChg chg="mod">
            <ac:chgData name="Friemelt, Felix, GB 15S, BN" userId="be9302ee-4987-448c-b9df-d811cd9075ff" providerId="ADAL" clId="{277458A2-50CC-4EEC-BDA8-19D7694BC834}" dt="2025-05-27T14:44:14.049" v="66"/>
            <ac:spMkLst>
              <pc:docMk/>
              <pc:sldMasterMk cId="960127958" sldId="2147483675"/>
              <pc:sldLayoutMk cId="2392644439" sldId="2147483810"/>
              <ac:spMk id="3" creationId="{2D4C42CC-B85A-402A-8160-8B4CC7900462}"/>
            </ac:spMkLst>
          </pc:spChg>
        </pc:sldLayoutChg>
        <pc:sldLayoutChg chg="modSp">
          <pc:chgData name="Friemelt, Felix, GB 15S, BN" userId="be9302ee-4987-448c-b9df-d811cd9075ff" providerId="ADAL" clId="{277458A2-50CC-4EEC-BDA8-19D7694BC834}" dt="2025-05-27T14:44:14.049" v="66"/>
          <pc:sldLayoutMkLst>
            <pc:docMk/>
            <pc:sldMasterMk cId="960127958" sldId="2147483675"/>
            <pc:sldLayoutMk cId="3034919991" sldId="2147483811"/>
          </pc:sldLayoutMkLst>
          <pc:spChg chg="mod">
            <ac:chgData name="Friemelt, Felix, GB 15S, BN" userId="be9302ee-4987-448c-b9df-d811cd9075ff" providerId="ADAL" clId="{277458A2-50CC-4EEC-BDA8-19D7694BC834}" dt="2025-05-27T14:44:14.049" v="66"/>
            <ac:spMkLst>
              <pc:docMk/>
              <pc:sldMasterMk cId="960127958" sldId="2147483675"/>
              <pc:sldLayoutMk cId="3034919991" sldId="2147483811"/>
              <ac:spMk id="3" creationId="{3C27EF1F-9ACF-48EE-A949-EAF146453979}"/>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41F5CAE4-CBB0-454E-B6B8-0B6620C2B409}" type="datetimeFigureOut">
              <a:rPr lang="de-DE" smtClean="0"/>
              <a:t>28.05.2025</a:t>
            </a:fld>
            <a:endParaRPr lang="de-DE"/>
          </a:p>
        </p:txBody>
      </p:sp>
      <p:sp>
        <p:nvSpPr>
          <p:cNvPr id="4" name="Folienbildplatzhalt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4B753AD6-CEF2-4FD5-AABC-FCC5FC528AD2}" type="slidenum">
              <a:rPr lang="de-DE" smtClean="0"/>
              <a:t>‹#›</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4672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C360DA9-3CAA-4059-AE58-43F558EE6E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652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141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276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753AD6-CEF2-4FD5-AABC-FCC5FC528AD2}" type="slidenum">
              <a:rPr lang="en-US" smtClean="0"/>
              <a:t>7</a:t>
            </a:fld>
            <a:endParaRPr lang="en-US"/>
          </a:p>
        </p:txBody>
      </p:sp>
    </p:spTree>
    <p:extLst>
      <p:ext uri="{BB962C8B-B14F-4D97-AF65-F5344CB8AC3E}">
        <p14:creationId xmlns:p14="http://schemas.microsoft.com/office/powerpoint/2010/main" val="540528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753AD6-CEF2-4FD5-AABC-FCC5FC528AD2}" type="slidenum">
              <a:rPr lang="en-US" smtClean="0"/>
              <a:t>8</a:t>
            </a:fld>
            <a:endParaRPr lang="en-US"/>
          </a:p>
        </p:txBody>
      </p:sp>
    </p:spTree>
    <p:extLst>
      <p:ext uri="{BB962C8B-B14F-4D97-AF65-F5344CB8AC3E}">
        <p14:creationId xmlns:p14="http://schemas.microsoft.com/office/powerpoint/2010/main" val="372082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B753AD6-CEF2-4FD5-AABC-FCC5FC528AD2}" type="slidenum">
              <a:rPr lang="de-DE" smtClean="0"/>
              <a:t>9</a:t>
            </a:fld>
            <a:endParaRPr lang="de-DE"/>
          </a:p>
        </p:txBody>
      </p:sp>
    </p:spTree>
    <p:extLst>
      <p:ext uri="{BB962C8B-B14F-4D97-AF65-F5344CB8AC3E}">
        <p14:creationId xmlns:p14="http://schemas.microsoft.com/office/powerpoint/2010/main" val="3230056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vollflächiger Verlauf">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Titel mit Farbverlauf, </a:t>
            </a:r>
            <a:br>
              <a:rPr lang="de-DE"/>
            </a:br>
            <a:r>
              <a:rPr lang="de-DE" err="1"/>
              <a:t>Delivery</a:t>
            </a:r>
            <a:r>
              <a:rPr lang="de-DE"/>
              <a:t> CONDENSED BLACK, 36 </a:t>
            </a:r>
            <a:r>
              <a:rPr lang="de-DE" err="1"/>
              <a:t>pt</a:t>
            </a:r>
            <a:endParaRPr lang="de-DE"/>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077289"/>
            <a:ext cx="4644724" cy="196977"/>
          </a:xfrm>
          <a:prstGeom prst="rect">
            <a:avLst/>
          </a:prstGeom>
        </p:spPr>
        <p:txBody>
          <a:bodyPr>
            <a:noAutofit/>
          </a:bodyPr>
          <a:lstStyle>
            <a:lvl1pPr>
              <a:defRPr b="1">
                <a:latin typeface="+mn-lt"/>
              </a:defRPr>
            </a:lvl1pPr>
            <a:lvl2pPr marL="0" indent="0">
              <a:buNone/>
              <a:defRPr/>
            </a:lvl2pPr>
          </a:lstStyle>
          <a:p>
            <a:pPr lvl="0"/>
            <a:r>
              <a:rPr lang="de-DE"/>
              <a:t>Geschäftsbereich</a:t>
            </a:r>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323999" y="2614115"/>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de-DE"/>
              <a:t>Name der Abteilung/</a:t>
            </a:r>
            <a:r>
              <a:rPr lang="de-DE" err="1"/>
              <a:t>Präsentor</a:t>
            </a:r>
            <a:r>
              <a:rPr lang="de-DE"/>
              <a:t>/in, </a:t>
            </a:r>
            <a:r>
              <a:rPr lang="de-DE" err="1"/>
              <a:t>Delivery</a:t>
            </a:r>
            <a:r>
              <a:rPr lang="de-DE"/>
              <a:t>, 12 </a:t>
            </a:r>
            <a:r>
              <a:rPr lang="de-DE" err="1"/>
              <a:t>pt</a:t>
            </a:r>
            <a:r>
              <a:rPr lang="de-DE"/>
              <a:t> </a:t>
            </a:r>
          </a:p>
          <a:p>
            <a:pPr lvl="0"/>
            <a:r>
              <a:rPr lang="de-DE"/>
              <a:t>Ort, xx. Monat 20xx</a:t>
            </a:r>
          </a:p>
        </p:txBody>
      </p:sp>
      <p:sp>
        <p:nvSpPr>
          <p:cNvPr id="10" name="Textplatzhalter 6">
            <a:extLst>
              <a:ext uri="{FF2B5EF4-FFF2-40B4-BE49-F238E27FC236}">
                <a16:creationId xmlns:a16="http://schemas.microsoft.com/office/drawing/2014/main" id="{A98AA35E-F719-477B-A953-7E2131BFE92B}"/>
              </a:ext>
            </a:extLst>
          </p:cNvPr>
          <p:cNvSpPr>
            <a:spLocks noGrp="1"/>
          </p:cNvSpPr>
          <p:nvPr>
            <p:ph type="body" sz="quarter" idx="21" hasCustomPrompt="1"/>
          </p:nvPr>
        </p:nvSpPr>
        <p:spPr>
          <a:xfrm>
            <a:off x="1966355" y="4644811"/>
            <a:ext cx="1260000" cy="178092"/>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
        <p:nvSpPr>
          <p:cNvPr id="11" name="Textplatzhalter 6">
            <a:extLst>
              <a:ext uri="{FF2B5EF4-FFF2-40B4-BE49-F238E27FC236}">
                <a16:creationId xmlns:a16="http://schemas.microsoft.com/office/drawing/2014/main" id="{B2DAF4AA-A1F1-4032-8E1B-12E5038CDC0A}"/>
              </a:ext>
            </a:extLst>
          </p:cNvPr>
          <p:cNvSpPr>
            <a:spLocks noGrp="1"/>
          </p:cNvSpPr>
          <p:nvPr>
            <p:ph type="body" sz="quarter" idx="22" hasCustomPrompt="1"/>
          </p:nvPr>
        </p:nvSpPr>
        <p:spPr>
          <a:xfrm>
            <a:off x="320675" y="4619380"/>
            <a:ext cx="1476000" cy="246492"/>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Tree>
    <p:extLst>
      <p:ext uri="{BB962C8B-B14F-4D97-AF65-F5344CB8AC3E}">
        <p14:creationId xmlns:p14="http://schemas.microsoft.com/office/powerpoint/2010/main" val="19035232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nhalt: 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3933428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halt: 2 Spalt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
        <p:nvSpPr>
          <p:cNvPr id="8" name="Content Placeholder 5">
            <a:extLst>
              <a:ext uri="{FF2B5EF4-FFF2-40B4-BE49-F238E27FC236}">
                <a16:creationId xmlns:a16="http://schemas.microsoft.com/office/drawing/2014/main" id="{73FAB765-71C5-4DE1-8A19-27DABA08ACC5}"/>
              </a:ext>
            </a:extLst>
          </p:cNvPr>
          <p:cNvSpPr>
            <a:spLocks noGrp="1"/>
          </p:cNvSpPr>
          <p:nvPr>
            <p:ph sz="quarter" idx="14" hasCustomPrompt="1"/>
          </p:nvPr>
        </p:nvSpPr>
        <p:spPr>
          <a:xfrm>
            <a:off x="4654549"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Tree>
    <p:extLst>
      <p:ext uri="{BB962C8B-B14F-4D97-AF65-F5344CB8AC3E}">
        <p14:creationId xmlns:p14="http://schemas.microsoft.com/office/powerpoint/2010/main" val="743112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halt: 1 Spalte, 1 Bi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 Nummerierte Aufzählung, </a:t>
            </a:r>
            <a:r>
              <a:rPr lang="de-DE" err="1"/>
              <a:t>Delivery</a:t>
            </a:r>
            <a:r>
              <a:rPr lang="de-DE"/>
              <a:t>, 12 </a:t>
            </a:r>
            <a:r>
              <a:rPr lang="de-DE" err="1"/>
              <a:t>pt</a:t>
            </a:r>
            <a:endParaRPr lang="de-DE"/>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4654549" y="1150938"/>
            <a:ext cx="4165450" cy="3530600"/>
          </a:xfrm>
          <a:prstGeom prst="rect">
            <a:avLst/>
          </a:prstGeom>
          <a:solidFill>
            <a:srgbClr val="CCCCCC"/>
          </a:solidFill>
        </p:spPr>
        <p:txBody>
          <a:bodyPr lIns="72000" tIns="72000" rIns="72000" bIns="72000"/>
          <a:lstStyle>
            <a:lvl1pPr>
              <a:defRPr/>
            </a:lvl1pPr>
          </a:lstStyle>
          <a:p>
            <a:r>
              <a:rPr lang="de-DE"/>
              <a:t>Bild auf Platzhalter ziehen oder durch Klicken auf Symbol hinzufügen</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Tree>
    <p:extLst>
      <p:ext uri="{BB962C8B-B14F-4D97-AF65-F5344CB8AC3E}">
        <p14:creationId xmlns:p14="http://schemas.microsoft.com/office/powerpoint/2010/main" val="8174616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halt: 1 Spalte, 1 halbseitiges Bi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1076F32-0D2A-4EB9-88D4-1501B63CD9F6}"/>
              </a:ext>
            </a:extLst>
          </p:cNvPr>
          <p:cNvSpPr>
            <a:spLocks noGrp="1"/>
          </p:cNvSpPr>
          <p:nvPr>
            <p:ph type="pic" sz="quarter" idx="18" hasCustomPrompt="1"/>
          </p:nvPr>
        </p:nvSpPr>
        <p:spPr>
          <a:xfrm>
            <a:off x="5292726" y="0"/>
            <a:ext cx="3851274" cy="5143500"/>
          </a:xfrm>
          <a:prstGeom prst="rect">
            <a:avLst/>
          </a:prstGeom>
          <a:solidFill>
            <a:srgbClr val="CCCCCC"/>
          </a:solidFill>
        </p:spPr>
        <p:txBody>
          <a:bodyPr lIns="72000" tIns="72000" rIns="72000" bIns="72000" anchor="t"/>
          <a:lstStyle>
            <a:lvl1pPr algn="l">
              <a:defRPr/>
            </a:lvl1pPr>
          </a:lstStyle>
          <a:p>
            <a:r>
              <a:rPr lang="de-DE"/>
              <a:t>Bild auf Platzhalter ziehen oder durch Klicken auf Symbol hinzufügen</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extLst>
              <p:ext uri="{D42A27DB-BD31-4B8C-83A1-F6EECF244321}">
                <p14:modId xmlns:p14="http://schemas.microsoft.com/office/powerpoint/2010/main" val="4203732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de-DE" sz="18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marL="0" marR="0" lvl="5" indent="0" algn="l" defTabSz="685800" rtl="0" eaLnBrk="1" fontAlgn="auto" latinLnBrk="0" hangingPunct="1">
              <a:lnSpc>
                <a:spcPct val="110000"/>
              </a:lnSpc>
              <a:spcBef>
                <a:spcPts val="0"/>
              </a:spcBef>
              <a:spcAft>
                <a:spcPts val="0"/>
              </a:spcAft>
              <a:buClrTx/>
              <a:buSzTx/>
              <a:buFont typeface="+mj-lt"/>
              <a:buNone/>
              <a:tabLst/>
              <a:defRPr/>
            </a:pPr>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
        <p:nvSpPr>
          <p:cNvPr id="2" name="Titel 1">
            <a:extLst>
              <a:ext uri="{FF2B5EF4-FFF2-40B4-BE49-F238E27FC236}">
                <a16:creationId xmlns:a16="http://schemas.microsoft.com/office/drawing/2014/main" id="{4D6196A0-7A92-4366-AA85-7D1F1F7FEA51}"/>
              </a:ext>
            </a:extLst>
          </p:cNvPr>
          <p:cNvSpPr>
            <a:spLocks noGrp="1"/>
          </p:cNvSpPr>
          <p:nvPr>
            <p:ph type="title" hasCustomPrompt="1"/>
          </p:nvPr>
        </p:nvSpPr>
        <p:spPr>
          <a:xfrm>
            <a:off x="324000" y="385163"/>
            <a:ext cx="4644725" cy="493950"/>
          </a:xfrm>
        </p:spPr>
        <p:txBody>
          <a:bodyPr/>
          <a:lstStyle/>
          <a:p>
            <a:r>
              <a:rPr lang="de-DE"/>
              <a:t>Überschrift mit ein oder zwei Zeilen, </a:t>
            </a:r>
            <a:r>
              <a:rPr lang="de-DE" err="1"/>
              <a:t>Delivery</a:t>
            </a:r>
            <a:r>
              <a:rPr lang="de-DE"/>
              <a:t> </a:t>
            </a:r>
            <a:r>
              <a:rPr lang="de-DE" err="1"/>
              <a:t>Bold</a:t>
            </a:r>
            <a:r>
              <a:rPr lang="de-DE"/>
              <a:t>, 18 </a:t>
            </a:r>
            <a:r>
              <a:rPr lang="de-DE" err="1"/>
              <a:t>pt</a:t>
            </a:r>
            <a:endParaRPr lang="de-DE"/>
          </a:p>
        </p:txBody>
      </p:sp>
    </p:spTree>
    <p:extLst>
      <p:ext uri="{BB962C8B-B14F-4D97-AF65-F5344CB8AC3E}">
        <p14:creationId xmlns:p14="http://schemas.microsoft.com/office/powerpoint/2010/main" val="35255720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halt: 1 Spalte, 1 Spalte halbseitig grau">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solidFill>
            <a:srgbClr val="CCCCCC"/>
          </a:solidFill>
        </p:spPr>
        <p:txBody>
          <a:bodyPr lIns="324000" tIns="1152000" rIns="324000" bIns="432000" anchor="t" anchorCtr="0"/>
          <a:lstStyle>
            <a:lvl1pPr>
              <a:defRPr/>
            </a:lvl1pPr>
            <a:lvl4pPr>
              <a:defRPr/>
            </a:lvl4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marL="0" marR="0" lvl="5" indent="0" algn="l" defTabSz="685800" rtl="0" eaLnBrk="1" fontAlgn="auto" latinLnBrk="0" hangingPunct="1">
              <a:lnSpc>
                <a:spcPct val="110000"/>
              </a:lnSpc>
              <a:spcBef>
                <a:spcPts val="0"/>
              </a:spcBef>
              <a:spcAft>
                <a:spcPts val="0"/>
              </a:spcAft>
              <a:buClrTx/>
              <a:buSzTx/>
              <a:buFont typeface="+mj-lt"/>
              <a:buNone/>
              <a:tabLst/>
              <a:defRPr/>
            </a:pPr>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a:p>
            <a:pPr lvl="4"/>
            <a:endParaRPr lang="de-DE"/>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extLst>
              <p:ext uri="{D42A27DB-BD31-4B8C-83A1-F6EECF244321}">
                <p14:modId xmlns:p14="http://schemas.microsoft.com/office/powerpoint/2010/main" val="396035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de-DE" sz="1800" b="1" i="0" baseline="0">
              <a:latin typeface="Delivery" panose="020F0503020204020204" pitchFamily="34" charset="0"/>
              <a:ea typeface="+mj-ea"/>
              <a:cs typeface="+mj-cs"/>
              <a:sym typeface="Delivery" panose="020F0503020204020204" pitchFamily="34" charset="0"/>
            </a:endParaRPr>
          </a:p>
        </p:txBody>
      </p:sp>
      <p:sp>
        <p:nvSpPr>
          <p:cNvPr id="2" name="Title 1">
            <a:extLst>
              <a:ext uri="{FF2B5EF4-FFF2-40B4-BE49-F238E27FC236}">
                <a16:creationId xmlns:a16="http://schemas.microsoft.com/office/drawing/2014/main" id="{6A499984-62A4-47EC-9933-2FCC1131CB9B}"/>
              </a:ext>
            </a:extLst>
          </p:cNvPr>
          <p:cNvSpPr>
            <a:spLocks noGrp="1"/>
          </p:cNvSpPr>
          <p:nvPr>
            <p:ph type="title" hasCustomPrompt="1"/>
          </p:nvPr>
        </p:nvSpPr>
        <p:spPr>
          <a:xfrm>
            <a:off x="324000" y="385200"/>
            <a:ext cx="4644725" cy="493200"/>
          </a:xfrm>
        </p:spPr>
        <p:txBody>
          <a:bodyPr/>
          <a:lstStyle>
            <a:lvl1pPr>
              <a:defRPr/>
            </a:lvl1pPr>
          </a:lstStyle>
          <a:p>
            <a:r>
              <a:rPr lang="de-DE"/>
              <a:t>Überschrift mit ein oder zwei Zeilen, </a:t>
            </a:r>
            <a:br>
              <a:rPr lang="de-DE"/>
            </a:b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marL="0" marR="0" lvl="5" indent="0" algn="l" defTabSz="685800" rtl="0" eaLnBrk="1" fontAlgn="auto" latinLnBrk="0" hangingPunct="1">
              <a:lnSpc>
                <a:spcPct val="110000"/>
              </a:lnSpc>
              <a:spcBef>
                <a:spcPts val="0"/>
              </a:spcBef>
              <a:spcAft>
                <a:spcPts val="0"/>
              </a:spcAft>
              <a:buClrTx/>
              <a:buSzTx/>
              <a:buFont typeface="+mj-lt"/>
              <a:buNone/>
              <a:tabLst/>
              <a:defRPr/>
            </a:pPr>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Tree>
    <p:extLst>
      <p:ext uri="{BB962C8B-B14F-4D97-AF65-F5344CB8AC3E}">
        <p14:creationId xmlns:p14="http://schemas.microsoft.com/office/powerpoint/2010/main" val="1424573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nhalt: 1 Spalte, 1 Spalte halbseitig Postgelb">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marL="0" marR="0" lvl="5" indent="0" algn="l" defTabSz="685800" rtl="0" eaLnBrk="1" fontAlgn="auto" latinLnBrk="0" hangingPunct="1">
              <a:lnSpc>
                <a:spcPct val="110000"/>
              </a:lnSpc>
              <a:spcBef>
                <a:spcPts val="0"/>
              </a:spcBef>
              <a:spcAft>
                <a:spcPts val="0"/>
              </a:spcAft>
              <a:buClrTx/>
              <a:buSzTx/>
              <a:buFont typeface="+mj-lt"/>
              <a:buNone/>
              <a:tabLst/>
              <a:defRPr/>
            </a:pPr>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a:p>
            <a:pPr lvl="4"/>
            <a:endParaRPr lang="de-DE"/>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extLst>
              <p:ext uri="{D42A27DB-BD31-4B8C-83A1-F6EECF244321}">
                <p14:modId xmlns:p14="http://schemas.microsoft.com/office/powerpoint/2010/main" val="3259697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de-DE" sz="1800" b="1" i="0" baseline="0">
              <a:latin typeface="Delivery" panose="020F0503020204020204" pitchFamily="34" charset="0"/>
              <a:ea typeface="+mj-ea"/>
              <a:cs typeface="+mj-cs"/>
              <a:sym typeface="Delivery" panose="020F0503020204020204" pitchFamily="34" charset="0"/>
            </a:endParaRPr>
          </a:p>
        </p:txBody>
      </p:sp>
      <p:sp>
        <p:nvSpPr>
          <p:cNvPr id="2" name="Title 1">
            <a:extLst>
              <a:ext uri="{FF2B5EF4-FFF2-40B4-BE49-F238E27FC236}">
                <a16:creationId xmlns:a16="http://schemas.microsoft.com/office/drawing/2014/main" id="{6A499984-62A4-47EC-9933-2FCC1131CB9B}"/>
              </a:ext>
            </a:extLst>
          </p:cNvPr>
          <p:cNvSpPr>
            <a:spLocks noGrp="1"/>
          </p:cNvSpPr>
          <p:nvPr>
            <p:ph type="title" hasCustomPrompt="1"/>
          </p:nvPr>
        </p:nvSpPr>
        <p:spPr>
          <a:xfrm>
            <a:off x="324000" y="385200"/>
            <a:ext cx="4644725" cy="493200"/>
          </a:xfrm>
        </p:spPr>
        <p:txBody>
          <a:bodyPr/>
          <a:lstStyle>
            <a:lvl1pPr>
              <a:defRPr/>
            </a:lvl1pPr>
          </a:lstStyle>
          <a:p>
            <a:r>
              <a:rPr lang="de-DE"/>
              <a:t>Überschrift mit ein oder zwei Zeilen, </a:t>
            </a:r>
            <a:br>
              <a:rPr lang="de-DE"/>
            </a:b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9" name="Content Placeholder 5">
            <a:extLst>
              <a:ext uri="{FF2B5EF4-FFF2-40B4-BE49-F238E27FC236}">
                <a16:creationId xmlns:a16="http://schemas.microsoft.com/office/drawing/2014/main" id="{09004038-FE85-4B3E-81C0-F00F703E7D96}"/>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marL="0" marR="0" lvl="5" indent="0" algn="l" defTabSz="685800" rtl="0" eaLnBrk="1" fontAlgn="auto" latinLnBrk="0" hangingPunct="1">
              <a:lnSpc>
                <a:spcPct val="110000"/>
              </a:lnSpc>
              <a:spcBef>
                <a:spcPts val="0"/>
              </a:spcBef>
              <a:spcAft>
                <a:spcPts val="0"/>
              </a:spcAft>
              <a:buClrTx/>
              <a:buSzTx/>
              <a:buFont typeface="+mj-lt"/>
              <a:buNone/>
              <a:tabLst/>
              <a:defRPr/>
            </a:pPr>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Tree>
    <p:extLst>
      <p:ext uri="{BB962C8B-B14F-4D97-AF65-F5344CB8AC3E}">
        <p14:creationId xmlns:p14="http://schemas.microsoft.com/office/powerpoint/2010/main" val="12663141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halt: weißer Hintergr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324001" y="1150938"/>
            <a:ext cx="4165450" cy="3530600"/>
          </a:xfrm>
          <a:prstGeom prst="rect">
            <a:avLst/>
          </a:prstGeom>
          <a:solidFill>
            <a:srgbClr val="CCCCCC"/>
          </a:solidFill>
        </p:spPr>
        <p:txBody>
          <a:bodyPr lIns="72000" tIns="72000" rIns="72000" bIns="72000"/>
          <a:lstStyle>
            <a:lvl1pPr>
              <a:defRPr/>
            </a:lvl1pPr>
          </a:lstStyle>
          <a:p>
            <a:r>
              <a:rPr lang="de-DE"/>
              <a:t>Bild auf Platzhalter ziehen oder durch Klicken auf Symbol hinzufügen</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4654548" y="1150938"/>
            <a:ext cx="4165450" cy="3530600"/>
          </a:xfrm>
          <a:prstGeom prst="rect">
            <a:avLst/>
          </a:prstGeom>
          <a:solidFill>
            <a:srgbClr val="CCCCCC"/>
          </a:solidFill>
        </p:spPr>
        <p:txBody>
          <a:bodyPr lIns="72000" tIns="72000" rIns="72000" bIns="72000"/>
          <a:lstStyle>
            <a:lvl1pPr>
              <a:defRPr/>
            </a:lvl1pPr>
          </a:lstStyle>
          <a:p>
            <a:r>
              <a:rPr lang="de-DE"/>
              <a:t>Bild auf Platzhalter ziehen oder durch Klicken auf Symbol hinzufügen</a:t>
            </a:r>
          </a:p>
        </p:txBody>
      </p:sp>
    </p:spTree>
    <p:extLst>
      <p:ext uri="{BB962C8B-B14F-4D97-AF65-F5344CB8AC3E}">
        <p14:creationId xmlns:p14="http://schemas.microsoft.com/office/powerpoint/2010/main" val="6997429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halt: helles Bild vollflächi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de-DE"/>
              <a:t>Bild auf Platzhalter ziehen oder durch Klicken auf Symbol hinzufügen</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de-DE"/>
              <a:t>BITTE KLASSIFIKATION HIER EINTRAGEN</a:t>
            </a:r>
          </a:p>
        </p:txBody>
      </p:sp>
    </p:spTree>
    <p:extLst>
      <p:ext uri="{BB962C8B-B14F-4D97-AF65-F5344CB8AC3E}">
        <p14:creationId xmlns:p14="http://schemas.microsoft.com/office/powerpoint/2010/main" val="4239868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halt: dunkles Bild vollflächig">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9144000" cy="5143500"/>
          </a:xfrm>
          <a:prstGeom prst="rect">
            <a:avLst/>
          </a:prstGeo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de-DE"/>
              <a:t>Bild auf Platzhalter ziehen oder durch Klicken auf Symbol hinzufügen</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a:t>
            </a:fld>
            <a:endParaRPr lang="en-US"/>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324000" y="1150938"/>
            <a:ext cx="8495999" cy="352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r>
              <a:rPr lang="de-DE"/>
              <a:t> </a:t>
            </a:r>
          </a:p>
          <a:p>
            <a:pPr lvl="2"/>
            <a:r>
              <a:rPr lang="de-DE"/>
              <a:t>Aufzählung, </a:t>
            </a:r>
            <a:r>
              <a:rPr lang="de-DE" err="1"/>
              <a:t>Delivery</a:t>
            </a:r>
            <a:r>
              <a:rPr lang="de-DE"/>
              <a:t>, 12 </a:t>
            </a:r>
            <a:r>
              <a:rPr lang="de-DE" err="1"/>
              <a:t>pt</a:t>
            </a:r>
            <a:endParaRPr lang="de-DE"/>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endParaRPr lang="de-DE"/>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de-DE"/>
              <a:t>BITTE KLASSIFIKATION HIER EINTRAGEN</a:t>
            </a:r>
          </a:p>
        </p:txBody>
      </p:sp>
    </p:spTree>
    <p:extLst>
      <p:ext uri="{BB962C8B-B14F-4D97-AF65-F5344CB8AC3E}">
        <p14:creationId xmlns:p14="http://schemas.microsoft.com/office/powerpoint/2010/main" val="54662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nhalt: Video vollflächig mit Titel">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de-DE"/>
              <a:t>Bild auf Platzhalter ziehen oder durch Klicken auf Symbol hinzufügen</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de-DE"/>
              <a:t>BITTE KLASSIFIKATION HIER EINTRAGEN</a:t>
            </a:r>
          </a:p>
        </p:txBody>
      </p:sp>
    </p:spTree>
    <p:extLst>
      <p:ext uri="{BB962C8B-B14F-4D97-AF65-F5344CB8AC3E}">
        <p14:creationId xmlns:p14="http://schemas.microsoft.com/office/powerpoint/2010/main" val="192844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halbseitiger Verlauf">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4" y="0"/>
            <a:ext cx="3851274" cy="5148000"/>
          </a:xfrm>
          <a:prstGeom prst="rect">
            <a:avLst/>
          </a:prstGeom>
          <a:solidFill>
            <a:srgbClr val="CCCCCC"/>
          </a:solidFill>
        </p:spPr>
        <p:txBody>
          <a:bodyPr lIns="72000" tIns="72000" rIns="72000" bIns="72000"/>
          <a:lstStyle>
            <a:lvl1pPr>
              <a:defRPr/>
            </a:lvl1pPr>
          </a:lstStyle>
          <a:p>
            <a:r>
              <a:rPr lang="de-DE" err="1"/>
              <a:t>Please</a:t>
            </a:r>
            <a:r>
              <a:rPr lang="de-DE"/>
              <a:t> </a:t>
            </a:r>
            <a:r>
              <a:rPr lang="de-DE" err="1"/>
              <a:t>click</a:t>
            </a:r>
            <a:r>
              <a:rPr lang="de-DE"/>
              <a:t> </a:t>
            </a:r>
            <a:r>
              <a:rPr lang="de-DE" err="1"/>
              <a:t>the</a:t>
            </a:r>
            <a:r>
              <a:rPr lang="de-DE"/>
              <a:t> </a:t>
            </a:r>
            <a:r>
              <a:rPr lang="de-DE" err="1"/>
              <a:t>icon</a:t>
            </a:r>
            <a:r>
              <a:rPr lang="de-DE"/>
              <a:t> </a:t>
            </a:r>
            <a:r>
              <a:rPr lang="de-DE" err="1"/>
              <a:t>to</a:t>
            </a:r>
            <a:r>
              <a:rPr lang="de-DE"/>
              <a:t> </a:t>
            </a:r>
            <a:r>
              <a:rPr lang="de-DE" err="1"/>
              <a:t>insert</a:t>
            </a:r>
            <a:r>
              <a:rPr lang="de-DE"/>
              <a:t> an </a:t>
            </a:r>
            <a:r>
              <a:rPr lang="de-DE" err="1"/>
              <a:t>image</a:t>
            </a:r>
            <a:endParaRPr lang="de-DE"/>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p>
          <a:p>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Titel mit ein bis </a:t>
            </a:r>
            <a:br>
              <a:rPr lang="de-DE"/>
            </a:br>
            <a:r>
              <a:rPr lang="de-DE"/>
              <a:t>drei Zeilen, 36 </a:t>
            </a:r>
            <a:r>
              <a:rPr lang="de-DE" err="1"/>
              <a:t>pt</a:t>
            </a:r>
            <a:endParaRPr lang="de-DE"/>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de-DE"/>
              <a:t>Name der Abteilung/</a:t>
            </a:r>
            <a:r>
              <a:rPr lang="de-DE" err="1"/>
              <a:t>Präsentor</a:t>
            </a:r>
            <a:r>
              <a:rPr lang="de-DE"/>
              <a:t>/in, </a:t>
            </a:r>
            <a:r>
              <a:rPr lang="de-DE" err="1"/>
              <a:t>Delivery</a:t>
            </a:r>
            <a:r>
              <a:rPr lang="de-DE"/>
              <a:t>, 12 </a:t>
            </a:r>
            <a:r>
              <a:rPr lang="de-DE" err="1"/>
              <a:t>pt</a:t>
            </a:r>
            <a:r>
              <a:rPr lang="de-DE"/>
              <a:t> </a:t>
            </a:r>
          </a:p>
          <a:p>
            <a:pPr lvl="0"/>
            <a:r>
              <a:rPr lang="de-DE"/>
              <a:t>Ort, xx. Monat 20xx</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44724" cy="196977"/>
          </a:xfrm>
          <a:prstGeom prst="rect">
            <a:avLst/>
          </a:prstGeom>
        </p:spPr>
        <p:txBody>
          <a:bodyPr>
            <a:noAutofit/>
          </a:bodyPr>
          <a:lstStyle>
            <a:lvl1pPr>
              <a:defRPr b="1">
                <a:latin typeface="+mn-lt"/>
              </a:defRPr>
            </a:lvl1pPr>
            <a:lvl2pPr marL="0" indent="0">
              <a:buNone/>
              <a:defRPr/>
            </a:lvl2pPr>
          </a:lstStyle>
          <a:p>
            <a:pPr lvl="0"/>
            <a:r>
              <a:rPr lang="de-DE"/>
              <a:t>Geschäftsbereich</a:t>
            </a:r>
          </a:p>
        </p:txBody>
      </p:sp>
      <p:sp>
        <p:nvSpPr>
          <p:cNvPr id="11" name="Textplatzhalter 6">
            <a:extLst>
              <a:ext uri="{FF2B5EF4-FFF2-40B4-BE49-F238E27FC236}">
                <a16:creationId xmlns:a16="http://schemas.microsoft.com/office/drawing/2014/main" id="{36290F7B-0CAC-4FB6-A1C7-708BACCC7178}"/>
              </a:ext>
            </a:extLst>
          </p:cNvPr>
          <p:cNvSpPr>
            <a:spLocks noGrp="1"/>
          </p:cNvSpPr>
          <p:nvPr>
            <p:ph type="body" sz="quarter" idx="21" hasCustomPrompt="1"/>
          </p:nvPr>
        </p:nvSpPr>
        <p:spPr>
          <a:xfrm>
            <a:off x="1966355" y="4644811"/>
            <a:ext cx="1260000" cy="178092"/>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
        <p:nvSpPr>
          <p:cNvPr id="13" name="Textplatzhalter 6">
            <a:extLst>
              <a:ext uri="{FF2B5EF4-FFF2-40B4-BE49-F238E27FC236}">
                <a16:creationId xmlns:a16="http://schemas.microsoft.com/office/drawing/2014/main" id="{B032F44D-27F7-4739-B175-B288AACC609B}"/>
              </a:ext>
            </a:extLst>
          </p:cNvPr>
          <p:cNvSpPr>
            <a:spLocks noGrp="1"/>
          </p:cNvSpPr>
          <p:nvPr>
            <p:ph type="body" sz="quarter" idx="22" hasCustomPrompt="1"/>
          </p:nvPr>
        </p:nvSpPr>
        <p:spPr>
          <a:xfrm>
            <a:off x="320675" y="4619380"/>
            <a:ext cx="1476000" cy="246492"/>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Tree>
    <p:extLst>
      <p:ext uri="{BB962C8B-B14F-4D97-AF65-F5344CB8AC3E}">
        <p14:creationId xmlns:p14="http://schemas.microsoft.com/office/powerpoint/2010/main" val="29149330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Zitat: vollflächiger Verlauf">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1774117" y="1963196"/>
            <a:ext cx="5233987" cy="897618"/>
          </a:xfrm>
          <a:prstGeom prst="rect">
            <a:avLst/>
          </a:prstGeom>
        </p:spPr>
        <p:txBody>
          <a:bodyPr>
            <a:noAutofit/>
          </a:bodyPr>
          <a:lstStyle>
            <a:lvl1pPr>
              <a:lnSpc>
                <a:spcPts val="3000"/>
              </a:lnSpc>
              <a:spcAft>
                <a:spcPts val="0"/>
              </a:spcAft>
              <a:defRPr sz="2500" i="1">
                <a:solidFill>
                  <a:schemeClr val="accent4"/>
                </a:solidFill>
                <a:latin typeface="+mn-lt"/>
              </a:defRPr>
            </a:lvl1pPr>
          </a:lstStyle>
          <a:p>
            <a:pPr lvl="0"/>
            <a:r>
              <a:rPr lang="de-DE"/>
              <a:t>“Hier kann ein Zitat eingesetzt werden in </a:t>
            </a:r>
            <a:r>
              <a:rPr lang="de-DE" err="1"/>
              <a:t>Delivery</a:t>
            </a:r>
            <a:r>
              <a:rPr lang="de-DE"/>
              <a:t> Italic, 25 </a:t>
            </a:r>
            <a:r>
              <a:rPr lang="de-DE" err="1"/>
              <a:t>pt</a:t>
            </a:r>
            <a:r>
              <a:rPr lang="de-DE"/>
              <a:t>.”</a:t>
            </a:r>
          </a:p>
        </p:txBody>
      </p:sp>
    </p:spTree>
    <p:extLst>
      <p:ext uri="{BB962C8B-B14F-4D97-AF65-F5344CB8AC3E}">
        <p14:creationId xmlns:p14="http://schemas.microsoft.com/office/powerpoint/2010/main" val="6401848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chlussfolie: vollflächiger Verlauf">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TextBox 4">
            <a:extLst>
              <a:ext uri="{FF2B5EF4-FFF2-40B4-BE49-F238E27FC236}">
                <a16:creationId xmlns:a16="http://schemas.microsoft.com/office/drawing/2014/main" id="{B30DCF4F-94A3-4ECD-931B-78A92C777558}"/>
              </a:ext>
            </a:extLst>
          </p:cNvPr>
          <p:cNvSpPr txBox="1"/>
          <p:nvPr/>
        </p:nvSpPr>
        <p:spPr>
          <a:xfrm>
            <a:off x="319293" y="1485178"/>
            <a:ext cx="7902069" cy="1107996"/>
          </a:xfrm>
          <a:prstGeom prst="rect">
            <a:avLst/>
          </a:prstGeom>
          <a:noFill/>
        </p:spPr>
        <p:txBody>
          <a:bodyPr wrap="square" lIns="0" tIns="0" rIns="0" bIns="0" rtlCol="0">
            <a:spAutoFit/>
          </a:bodyPr>
          <a:lstStyle/>
          <a:p>
            <a:r>
              <a:rPr lang="de-DE" sz="3600" b="0" cap="all" baseline="0" noProof="0">
                <a:latin typeface="Delivery Cd Black" panose="020F0906020204020204" pitchFamily="34" charset="0"/>
              </a:rPr>
              <a:t>Vielen Dank für </a:t>
            </a:r>
            <a:br>
              <a:rPr lang="de-DE" sz="3600" b="0" cap="all" baseline="0" noProof="0">
                <a:latin typeface="Delivery Cd Black" panose="020F0906020204020204" pitchFamily="34" charset="0"/>
              </a:rPr>
            </a:br>
            <a:r>
              <a:rPr lang="de-DE" sz="3600" b="0" cap="all" baseline="0" noProof="0">
                <a:latin typeface="Delivery Cd Black" panose="020F0906020204020204" pitchFamily="34" charset="0"/>
              </a:rPr>
              <a:t>Ihre Aufmerksamkeit</a:t>
            </a:r>
          </a:p>
        </p:txBody>
      </p:sp>
    </p:spTree>
    <p:extLst>
      <p:ext uri="{BB962C8B-B14F-4D97-AF65-F5344CB8AC3E}">
        <p14:creationId xmlns:p14="http://schemas.microsoft.com/office/powerpoint/2010/main" val="2171333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4" y="0"/>
            <a:ext cx="3851274" cy="5148000"/>
          </a:xfr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Optional subline in one OR TWO lineS, </a:t>
            </a:r>
          </a:p>
          <a:p>
            <a:r>
              <a:rPr lang="en-US"/>
              <a:t>Delivery CONDENSED LIGHT, 18 pt</a:t>
            </a:r>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accent4"/>
                </a:solidFill>
                <a:latin typeface="Delivery Cd Black" panose="020F0906020204020204" pitchFamily="34" charset="0"/>
              </a:defRPr>
            </a:lvl1pPr>
          </a:lstStyle>
          <a:p>
            <a:r>
              <a:rPr lang="en-US"/>
              <a:t>SAMPLE TITLE Delivery CONDENSED BLACK, 36 pt</a:t>
            </a:r>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44724" cy="196977"/>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pt</a:t>
            </a:r>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316706" y="4603326"/>
            <a:ext cx="1493044" cy="226218"/>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en-US"/>
              <a:t>1</a:t>
            </a:r>
            <a:endParaRPr lang="en-GB"/>
          </a:p>
        </p:txBody>
      </p:sp>
    </p:spTree>
    <p:extLst>
      <p:ext uri="{BB962C8B-B14F-4D97-AF65-F5344CB8AC3E}">
        <p14:creationId xmlns:p14="http://schemas.microsoft.com/office/powerpoint/2010/main" val="154980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23926444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0" y="1150938"/>
            <a:ext cx="8495999" cy="3528000"/>
          </a:xfrm>
        </p:spPr>
        <p:txBody>
          <a:bodyPr/>
          <a:lstStyle>
            <a:lvl1pPr>
              <a:defRPr/>
            </a:lvl1pPr>
            <a:lvl2pPr>
              <a:defRPr/>
            </a:lvl2pPr>
            <a:lvl3pPr>
              <a:defRPr/>
            </a:lvl3pPr>
            <a:lvl4pPr>
              <a:defRPr/>
            </a:lvl4pPr>
            <a:lvl5pPr>
              <a:defRPr/>
            </a:lvl5pPr>
            <a:lvl6pPr>
              <a:defRPr sz="1200"/>
            </a:lvl6pPr>
            <a:lvl7pPr>
              <a:defRPr sz="12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200"/>
              <a:t>Bullet number, Delivery, 12 </a:t>
            </a:r>
            <a:r>
              <a:rPr lang="en-US" sz="1200" err="1"/>
              <a:t>pt</a:t>
            </a:r>
            <a:r>
              <a:rPr lang="en-US" sz="120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en-US"/>
              <a:t> </a:t>
            </a:r>
          </a:p>
        </p:txBody>
      </p:sp>
    </p:spTree>
    <p:extLst>
      <p:ext uri="{BB962C8B-B14F-4D97-AF65-F5344CB8AC3E}">
        <p14:creationId xmlns:p14="http://schemas.microsoft.com/office/powerpoint/2010/main" val="3034919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HL Group | Strategie 2030</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113205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halbseitiger Verlauf, vollflächiges Bild">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9144000" cy="5148000"/>
          </a:xfrm>
          <a:prstGeom prst="rect">
            <a:avLst/>
          </a:prstGeom>
          <a:solidFill>
            <a:srgbClr val="CCCCCC"/>
          </a:solidFill>
        </p:spPr>
        <p:txBody>
          <a:bodyPr lIns="72000" tIns="72000" rIns="72000" bIns="72000"/>
          <a:lstStyle>
            <a:lvl1pPr algn="r">
              <a:defRPr/>
            </a:lvl1pPr>
          </a:lstStyle>
          <a:p>
            <a:r>
              <a:rPr lang="de-DE" err="1"/>
              <a:t>Please</a:t>
            </a:r>
            <a:r>
              <a:rPr lang="de-DE"/>
              <a:t> </a:t>
            </a:r>
            <a:r>
              <a:rPr lang="de-DE" err="1"/>
              <a:t>click</a:t>
            </a:r>
            <a:r>
              <a:rPr lang="de-DE"/>
              <a:t> </a:t>
            </a:r>
            <a:r>
              <a:rPr lang="de-DE" err="1"/>
              <a:t>the</a:t>
            </a:r>
            <a:r>
              <a:rPr lang="de-DE"/>
              <a:t> </a:t>
            </a:r>
            <a:r>
              <a:rPr lang="de-DE" err="1"/>
              <a:t>icon</a:t>
            </a:r>
            <a:r>
              <a:rPr lang="de-DE"/>
              <a:t> </a:t>
            </a:r>
            <a:r>
              <a:rPr lang="de-DE" err="1"/>
              <a:t>to</a:t>
            </a:r>
            <a:r>
              <a:rPr lang="de-DE"/>
              <a:t> </a:t>
            </a:r>
            <a:r>
              <a:rPr lang="de-DE" err="1"/>
              <a:t>insert</a:t>
            </a:r>
            <a:r>
              <a:rPr lang="de-DE"/>
              <a:t> an </a:t>
            </a:r>
            <a:r>
              <a:rPr lang="de-DE" err="1"/>
              <a:t>image</a:t>
            </a:r>
            <a:endParaRPr lang="de-DE"/>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160019" y="519114"/>
            <a:ext cx="4802400" cy="4467600"/>
          </a:xfrm>
          <a:prstGeom prst="rect">
            <a:avLst/>
          </a:prstGeo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de-DE"/>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58969"/>
            <a:ext cx="4657246"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p>
          <a:p>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144018"/>
            <a:ext cx="4657245" cy="1614951"/>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Titel mit ein bis </a:t>
            </a:r>
            <a:br>
              <a:rPr lang="de-DE"/>
            </a:br>
            <a:r>
              <a:rPr lang="de-DE"/>
              <a:t>drei Zeilen, 36 </a:t>
            </a:r>
            <a:r>
              <a:rPr lang="de-DE" err="1"/>
              <a:t>pt</a:t>
            </a:r>
            <a:endParaRPr lang="de-DE"/>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57246"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de-DE"/>
              <a:t>Name der Abteilung/</a:t>
            </a:r>
            <a:r>
              <a:rPr lang="de-DE" err="1"/>
              <a:t>Präsentor</a:t>
            </a:r>
            <a:r>
              <a:rPr lang="de-DE"/>
              <a:t>/in, </a:t>
            </a:r>
            <a:r>
              <a:rPr lang="de-DE" err="1"/>
              <a:t>Delivery</a:t>
            </a:r>
            <a:r>
              <a:rPr lang="de-DE"/>
              <a:t>, 12 </a:t>
            </a:r>
            <a:r>
              <a:rPr lang="de-DE" err="1"/>
              <a:t>pt</a:t>
            </a:r>
            <a:r>
              <a:rPr lang="de-DE"/>
              <a:t> </a:t>
            </a:r>
          </a:p>
          <a:p>
            <a:pPr lvl="0"/>
            <a:r>
              <a:rPr lang="de-DE"/>
              <a:t>Ort, xx. Monat 20xx</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57246" cy="196977"/>
          </a:xfrm>
          <a:prstGeom prst="rect">
            <a:avLst/>
          </a:prstGeom>
        </p:spPr>
        <p:txBody>
          <a:bodyPr>
            <a:noAutofit/>
          </a:bodyPr>
          <a:lstStyle>
            <a:lvl1pPr>
              <a:defRPr b="1">
                <a:latin typeface="+mn-lt"/>
              </a:defRPr>
            </a:lvl1pPr>
            <a:lvl2pPr marL="0" indent="0">
              <a:buNone/>
              <a:defRPr/>
            </a:lvl2pPr>
          </a:lstStyle>
          <a:p>
            <a:pPr lvl="0"/>
            <a:r>
              <a:rPr lang="de-DE"/>
              <a:t>Geschäftsbereich</a:t>
            </a:r>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de-DE"/>
              <a:t>Keine </a:t>
            </a:r>
            <a:r>
              <a:rPr lang="de-DE" err="1"/>
              <a:t>verschlusssache</a:t>
            </a:r>
            <a:r>
              <a:rPr lang="de-DE"/>
              <a:t>/OFFEN</a:t>
            </a:r>
          </a:p>
        </p:txBody>
      </p:sp>
      <p:sp>
        <p:nvSpPr>
          <p:cNvPr id="13" name="Textplatzhalter 6">
            <a:extLst>
              <a:ext uri="{FF2B5EF4-FFF2-40B4-BE49-F238E27FC236}">
                <a16:creationId xmlns:a16="http://schemas.microsoft.com/office/drawing/2014/main" id="{C391E7B6-6CFB-4466-BCC4-E7C497B714E8}"/>
              </a:ext>
            </a:extLst>
          </p:cNvPr>
          <p:cNvSpPr>
            <a:spLocks noGrp="1"/>
          </p:cNvSpPr>
          <p:nvPr>
            <p:ph type="body" sz="quarter" idx="21" hasCustomPrompt="1"/>
          </p:nvPr>
        </p:nvSpPr>
        <p:spPr>
          <a:xfrm>
            <a:off x="1966355" y="4644811"/>
            <a:ext cx="1260000" cy="178092"/>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
        <p:nvSpPr>
          <p:cNvPr id="14" name="Textplatzhalter 6">
            <a:extLst>
              <a:ext uri="{FF2B5EF4-FFF2-40B4-BE49-F238E27FC236}">
                <a16:creationId xmlns:a16="http://schemas.microsoft.com/office/drawing/2014/main" id="{18606427-4096-4875-A6DD-1A5721AAD604}"/>
              </a:ext>
            </a:extLst>
          </p:cNvPr>
          <p:cNvSpPr>
            <a:spLocks noGrp="1"/>
          </p:cNvSpPr>
          <p:nvPr>
            <p:ph type="body" sz="quarter" idx="22" hasCustomPrompt="1"/>
          </p:nvPr>
        </p:nvSpPr>
        <p:spPr>
          <a:xfrm>
            <a:off x="320675" y="4619380"/>
            <a:ext cx="1476000" cy="246492"/>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Tree>
    <p:extLst>
      <p:ext uri="{BB962C8B-B14F-4D97-AF65-F5344CB8AC3E}">
        <p14:creationId xmlns:p14="http://schemas.microsoft.com/office/powerpoint/2010/main" val="1151206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 helles Bild, Farbverlauf unten">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9144000" cy="5148000"/>
          </a:xfrm>
          <a:prstGeom prst="rect">
            <a:avLst/>
          </a:prstGeom>
          <a:solidFill>
            <a:srgbClr val="CCCCCC"/>
          </a:solidFill>
        </p:spPr>
        <p:txBody>
          <a:bodyPr/>
          <a:lstStyle/>
          <a:p>
            <a:r>
              <a:rPr lang="de-DE"/>
              <a:t>Bild durch Klicken auf Symbol hinzufügen</a:t>
            </a:r>
            <a:endParaRPr lang="en-US"/>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Titel mit ein bis </a:t>
            </a:r>
            <a:br>
              <a:rPr lang="de-DE"/>
            </a:br>
            <a:r>
              <a:rPr lang="de-DE"/>
              <a:t>drei Zeilen, 36 </a:t>
            </a:r>
            <a:r>
              <a:rPr lang="de-DE" err="1"/>
              <a:t>pt</a:t>
            </a:r>
            <a:endParaRPr lang="de-DE"/>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de-DE"/>
              <a:t>Name der Abteilung/</a:t>
            </a:r>
            <a:r>
              <a:rPr lang="de-DE" err="1"/>
              <a:t>Präsentor</a:t>
            </a:r>
            <a:r>
              <a:rPr lang="de-DE"/>
              <a:t>/in, </a:t>
            </a:r>
            <a:r>
              <a:rPr lang="de-DE" err="1"/>
              <a:t>Delivery</a:t>
            </a:r>
            <a:r>
              <a:rPr lang="de-DE"/>
              <a:t>, 12 </a:t>
            </a:r>
            <a:r>
              <a:rPr lang="de-DE" err="1"/>
              <a:t>pt</a:t>
            </a:r>
            <a:r>
              <a:rPr lang="de-DE"/>
              <a:t> </a:t>
            </a:r>
          </a:p>
          <a:p>
            <a:pPr lvl="0"/>
            <a:r>
              <a:rPr lang="de-DE"/>
              <a:t>Ort, xx. Monat 20xx</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latin typeface="+mn-lt"/>
              </a:defRPr>
            </a:lvl1pPr>
            <a:lvl2pPr marL="0" indent="0">
              <a:buNone/>
              <a:defRPr/>
            </a:lvl2pPr>
          </a:lstStyle>
          <a:p>
            <a:pPr lvl="0"/>
            <a:r>
              <a:rPr lang="de-DE"/>
              <a:t>Geschäftsbereich</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de-DE"/>
              <a:t>Keine </a:t>
            </a:r>
            <a:r>
              <a:rPr lang="de-DE" err="1"/>
              <a:t>verschlusssache</a:t>
            </a:r>
            <a:r>
              <a:rPr lang="de-DE"/>
              <a:t>/OFFEN</a:t>
            </a:r>
          </a:p>
        </p:txBody>
      </p:sp>
      <p:sp>
        <p:nvSpPr>
          <p:cNvPr id="14" name="Text Placeholder 5">
            <a:extLst>
              <a:ext uri="{FF2B5EF4-FFF2-40B4-BE49-F238E27FC236}">
                <a16:creationId xmlns:a16="http://schemas.microsoft.com/office/drawing/2014/main" id="{4007EF64-0AA4-4C20-8564-DF181B65AB44}"/>
              </a:ext>
            </a:extLst>
          </p:cNvPr>
          <p:cNvSpPr>
            <a:spLocks noGrp="1"/>
          </p:cNvSpPr>
          <p:nvPr>
            <p:ph type="body" sz="quarter" idx="15" hasCustomPrompt="1"/>
          </p:nvPr>
        </p:nvSpPr>
        <p:spPr>
          <a:xfrm>
            <a:off x="160020" y="4482811"/>
            <a:ext cx="8658000" cy="502092"/>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de-DE"/>
              <a:t>1</a:t>
            </a:r>
          </a:p>
        </p:txBody>
      </p:sp>
      <p:sp>
        <p:nvSpPr>
          <p:cNvPr id="19" name="Textplatzhalter 6">
            <a:extLst>
              <a:ext uri="{FF2B5EF4-FFF2-40B4-BE49-F238E27FC236}">
                <a16:creationId xmlns:a16="http://schemas.microsoft.com/office/drawing/2014/main" id="{8FD2AD2C-2830-48AA-AE30-2EF841E01A11}"/>
              </a:ext>
            </a:extLst>
          </p:cNvPr>
          <p:cNvSpPr>
            <a:spLocks noGrp="1"/>
          </p:cNvSpPr>
          <p:nvPr>
            <p:ph type="body" sz="quarter" idx="21" hasCustomPrompt="1"/>
          </p:nvPr>
        </p:nvSpPr>
        <p:spPr>
          <a:xfrm>
            <a:off x="1966355" y="4644811"/>
            <a:ext cx="1260000" cy="178092"/>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
        <p:nvSpPr>
          <p:cNvPr id="21" name="Textplatzhalter 6">
            <a:extLst>
              <a:ext uri="{FF2B5EF4-FFF2-40B4-BE49-F238E27FC236}">
                <a16:creationId xmlns:a16="http://schemas.microsoft.com/office/drawing/2014/main" id="{1FCF3141-CE5B-400C-856F-E290AE1CAAE6}"/>
              </a:ext>
            </a:extLst>
          </p:cNvPr>
          <p:cNvSpPr>
            <a:spLocks noGrp="1"/>
          </p:cNvSpPr>
          <p:nvPr>
            <p:ph type="body" sz="quarter" idx="22" hasCustomPrompt="1"/>
          </p:nvPr>
        </p:nvSpPr>
        <p:spPr>
          <a:xfrm>
            <a:off x="320675" y="4619380"/>
            <a:ext cx="1476000" cy="246492"/>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Tree>
    <p:extLst>
      <p:ext uri="{BB962C8B-B14F-4D97-AF65-F5344CB8AC3E}">
        <p14:creationId xmlns:p14="http://schemas.microsoft.com/office/powerpoint/2010/main" val="346535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 dunkles Bild, Farbverlauf unte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9144000" cy="5148000"/>
          </a:xfrm>
          <a:prstGeom prst="rect">
            <a:avLst/>
          </a:prstGeom>
          <a:gradFill flip="none" rotWithShape="1">
            <a:gsLst>
              <a:gs pos="100000">
                <a:schemeClr val="tx1">
                  <a:alpha val="0"/>
                </a:schemeClr>
              </a:gs>
              <a:gs pos="40000">
                <a:schemeClr val="tx1">
                  <a:alpha val="30000"/>
                </a:schemeClr>
              </a:gs>
            </a:gsLst>
            <a:lin ang="0" scaled="1"/>
            <a:tileRect/>
          </a:gradFill>
        </p:spPr>
        <p:txBody>
          <a:bodyPr/>
          <a:lstStyle>
            <a:lvl1pPr>
              <a:defRPr sz="100"/>
            </a:lvl1pPr>
          </a:lstStyle>
          <a:p>
            <a:pPr lvl="0"/>
            <a:r>
              <a:rPr lang="de-DE"/>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9144000" cy="5148000"/>
          </a:xfrm>
          <a:prstGeom prst="rect">
            <a:avLst/>
          </a:prstGeom>
          <a:solidFill>
            <a:srgbClr val="333333"/>
          </a:solidFill>
        </p:spPr>
        <p:txBody>
          <a:bodyPr lIns="324000" tIns="576000"/>
          <a:lstStyle>
            <a:lvl1pPr>
              <a:defRPr sz="1000" b="0" i="1">
                <a:solidFill>
                  <a:schemeClr val="bg1"/>
                </a:solidFill>
              </a:defRPr>
            </a:lvl1pPr>
          </a:lstStyle>
          <a:p>
            <a:r>
              <a:rPr lang="de-DE" err="1"/>
              <a:t>Please</a:t>
            </a:r>
            <a:r>
              <a:rPr lang="de-DE"/>
              <a:t> </a:t>
            </a:r>
            <a:r>
              <a:rPr lang="de-DE" err="1"/>
              <a:t>use</a:t>
            </a:r>
            <a:r>
              <a:rPr lang="de-DE"/>
              <a:t> and </a:t>
            </a:r>
            <a:r>
              <a:rPr lang="de-DE" err="1"/>
              <a:t>adjust</a:t>
            </a:r>
            <a:r>
              <a:rPr lang="de-DE"/>
              <a:t> </a:t>
            </a:r>
            <a:r>
              <a:rPr lang="de-DE" err="1"/>
              <a:t>this</a:t>
            </a:r>
            <a:r>
              <a:rPr lang="de-DE"/>
              <a:t> transparent box </a:t>
            </a:r>
            <a:r>
              <a:rPr lang="de-DE" err="1"/>
              <a:t>to</a:t>
            </a:r>
            <a:r>
              <a:rPr lang="de-DE"/>
              <a:t> </a:t>
            </a:r>
            <a:r>
              <a:rPr lang="de-DE" err="1"/>
              <a:t>darken</a:t>
            </a:r>
            <a:r>
              <a:rPr lang="de-DE"/>
              <a:t> </a:t>
            </a:r>
            <a:r>
              <a:rPr lang="de-DE" err="1"/>
              <a:t>the</a:t>
            </a:r>
            <a:r>
              <a:rPr lang="de-DE"/>
              <a:t> </a:t>
            </a:r>
            <a:r>
              <a:rPr lang="de-DE" err="1"/>
              <a:t>background</a:t>
            </a:r>
            <a:r>
              <a:rPr lang="de-DE"/>
              <a:t> </a:t>
            </a:r>
            <a:r>
              <a:rPr lang="de-DE" err="1"/>
              <a:t>image</a:t>
            </a:r>
            <a:r>
              <a:rPr lang="de-DE"/>
              <a:t> </a:t>
            </a:r>
            <a:r>
              <a:rPr lang="de-DE" err="1"/>
              <a:t>for</a:t>
            </a:r>
            <a:r>
              <a:rPr lang="de-DE"/>
              <a:t> </a:t>
            </a:r>
            <a:r>
              <a:rPr lang="de-DE" err="1"/>
              <a:t>good</a:t>
            </a:r>
            <a:r>
              <a:rPr lang="de-DE"/>
              <a:t> </a:t>
            </a:r>
            <a:r>
              <a:rPr lang="de-DE" err="1"/>
              <a:t>readability</a:t>
            </a:r>
            <a:r>
              <a:rPr lang="de-DE"/>
              <a:t>. </a:t>
            </a:r>
            <a:r>
              <a:rPr lang="de-DE" err="1"/>
              <a:t>Please</a:t>
            </a:r>
            <a:r>
              <a:rPr lang="de-DE"/>
              <a:t> </a:t>
            </a:r>
            <a:r>
              <a:rPr lang="de-DE" err="1"/>
              <a:t>insert</a:t>
            </a:r>
            <a:r>
              <a:rPr lang="de-DE"/>
              <a:t> an </a:t>
            </a:r>
            <a:r>
              <a:rPr lang="de-DE" err="1"/>
              <a:t>image</a:t>
            </a:r>
            <a:r>
              <a:rPr lang="de-DE"/>
              <a:t> and send </a:t>
            </a:r>
            <a:r>
              <a:rPr lang="de-DE" err="1"/>
              <a:t>it</a:t>
            </a:r>
            <a:r>
              <a:rPr lang="de-DE"/>
              <a:t> </a:t>
            </a:r>
            <a:r>
              <a:rPr lang="de-DE" err="1"/>
              <a:t>to</a:t>
            </a:r>
            <a:r>
              <a:rPr lang="de-DE"/>
              <a:t> </a:t>
            </a:r>
            <a:r>
              <a:rPr lang="de-DE" err="1"/>
              <a:t>the</a:t>
            </a:r>
            <a:r>
              <a:rPr lang="de-DE"/>
              <a:t> </a:t>
            </a:r>
            <a:r>
              <a:rPr lang="de-DE" err="1"/>
              <a:t>background</a:t>
            </a:r>
            <a:r>
              <a:rPr lang="de-DE"/>
              <a:t>.</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160020" y="4482811"/>
            <a:ext cx="8658000" cy="502092"/>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de-DE"/>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bg1"/>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bg1"/>
                </a:solidFill>
                <a:latin typeface="Delivery Cd Black" panose="020F0906020204020204" pitchFamily="34" charset="0"/>
              </a:defRPr>
            </a:lvl1pPr>
          </a:lstStyle>
          <a:p>
            <a:r>
              <a:rPr lang="de-DE"/>
              <a:t>Titel mit ein bis </a:t>
            </a:r>
            <a:br>
              <a:rPr lang="de-DE"/>
            </a:br>
            <a:r>
              <a:rPr lang="de-DE"/>
              <a:t>drei Zeilen, 36 </a:t>
            </a:r>
            <a:r>
              <a:rPr lang="de-DE" err="1"/>
              <a:t>pt</a:t>
            </a:r>
            <a:endParaRPr lang="de-DE"/>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bg1"/>
                </a:solidFill>
                <a:latin typeface="+mn-lt"/>
              </a:defRPr>
            </a:lvl1pPr>
            <a:lvl2pPr marL="0" indent="0">
              <a:buNone/>
              <a:defRPr/>
            </a:lvl2pPr>
          </a:lstStyle>
          <a:p>
            <a:pPr lvl="0"/>
            <a:r>
              <a:rPr lang="de-DE"/>
              <a:t>Name der Abteilung/</a:t>
            </a:r>
            <a:r>
              <a:rPr lang="de-DE" err="1"/>
              <a:t>Präsentor</a:t>
            </a:r>
            <a:r>
              <a:rPr lang="de-DE"/>
              <a:t>/in, </a:t>
            </a:r>
            <a:r>
              <a:rPr lang="de-DE" err="1"/>
              <a:t>Delivery</a:t>
            </a:r>
            <a:r>
              <a:rPr lang="de-DE"/>
              <a:t>, 12 </a:t>
            </a:r>
            <a:r>
              <a:rPr lang="de-DE" err="1"/>
              <a:t>pt</a:t>
            </a:r>
            <a:r>
              <a:rPr lang="de-DE"/>
              <a:t> </a:t>
            </a:r>
          </a:p>
          <a:p>
            <a:pPr lvl="0"/>
            <a:r>
              <a:rPr lang="de-DE"/>
              <a:t>Ort, xx. Monat 20xx</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solidFill>
                  <a:schemeClr val="bg1"/>
                </a:solidFill>
                <a:latin typeface="+mn-lt"/>
              </a:defRPr>
            </a:lvl1pPr>
            <a:lvl2pPr marL="0" indent="0">
              <a:buNone/>
              <a:defRPr/>
            </a:lvl2pPr>
          </a:lstStyle>
          <a:p>
            <a:pPr lvl="0"/>
            <a:r>
              <a:rPr lang="de-DE"/>
              <a:t>Geschäftsbereich</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de-DE"/>
              <a:t>BITTE KLASSIFIKATION HIER EINTRAGEN</a:t>
            </a:r>
          </a:p>
        </p:txBody>
      </p:sp>
      <p:sp>
        <p:nvSpPr>
          <p:cNvPr id="23" name="Textplatzhalter 6">
            <a:extLst>
              <a:ext uri="{FF2B5EF4-FFF2-40B4-BE49-F238E27FC236}">
                <a16:creationId xmlns:a16="http://schemas.microsoft.com/office/drawing/2014/main" id="{28D8C0A6-A9A5-4412-A4AE-620EB255AF39}"/>
              </a:ext>
            </a:extLst>
          </p:cNvPr>
          <p:cNvSpPr>
            <a:spLocks noGrp="1"/>
          </p:cNvSpPr>
          <p:nvPr>
            <p:ph type="body" sz="quarter" idx="21" hasCustomPrompt="1"/>
          </p:nvPr>
        </p:nvSpPr>
        <p:spPr>
          <a:xfrm>
            <a:off x="1966355" y="4644811"/>
            <a:ext cx="1260000" cy="178092"/>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
        <p:nvSpPr>
          <p:cNvPr id="25" name="Textplatzhalter 6">
            <a:extLst>
              <a:ext uri="{FF2B5EF4-FFF2-40B4-BE49-F238E27FC236}">
                <a16:creationId xmlns:a16="http://schemas.microsoft.com/office/drawing/2014/main" id="{6336B533-3643-4CDD-B5F9-FFAE3B723783}"/>
              </a:ext>
            </a:extLst>
          </p:cNvPr>
          <p:cNvSpPr>
            <a:spLocks noGrp="1"/>
          </p:cNvSpPr>
          <p:nvPr>
            <p:ph type="body" sz="quarter" idx="22" hasCustomPrompt="1"/>
          </p:nvPr>
        </p:nvSpPr>
        <p:spPr>
          <a:xfrm>
            <a:off x="320675" y="4619380"/>
            <a:ext cx="1476000" cy="246492"/>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sz="100">
                <a:solidFill>
                  <a:schemeClr val="accent3"/>
                </a:solidFill>
              </a:defRPr>
            </a:lvl1pPr>
          </a:lstStyle>
          <a:p>
            <a:pPr lvl="0"/>
            <a:r>
              <a:rPr lang="de-DE"/>
              <a:t>1</a:t>
            </a:r>
          </a:p>
        </p:txBody>
      </p:sp>
    </p:spTree>
    <p:extLst>
      <p:ext uri="{BB962C8B-B14F-4D97-AF65-F5344CB8AC3E}">
        <p14:creationId xmlns:p14="http://schemas.microsoft.com/office/powerpoint/2010/main" val="28550955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iteltrenner: vollflächiger Verlauf">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Kapitel-</a:t>
            </a:r>
            <a:r>
              <a:rPr lang="de-DE" err="1"/>
              <a:t>Trenner</a:t>
            </a:r>
            <a:r>
              <a:rPr lang="de-DE"/>
              <a:t> mit Farbverlauf, </a:t>
            </a:r>
            <a:br>
              <a:rPr lang="de-DE"/>
            </a:br>
            <a:r>
              <a:rPr lang="de-DE" err="1"/>
              <a:t>Delivery</a:t>
            </a:r>
            <a:r>
              <a:rPr lang="de-DE"/>
              <a:t> CONDENSED BLACK, 36 </a:t>
            </a:r>
            <a:r>
              <a:rPr lang="de-DE" err="1"/>
              <a:t>pt</a:t>
            </a:r>
            <a:endParaRPr lang="de-DE"/>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681918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apiteltrenner: halbseitiger Verlauf">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SUBLINE mit ein bis zwei Zeilen, </a:t>
            </a:r>
          </a:p>
          <a:p>
            <a:r>
              <a:rPr lang="de-DE" err="1"/>
              <a:t>Delivery</a:t>
            </a:r>
            <a:r>
              <a:rPr lang="de-DE"/>
              <a:t> CONDENSED LIGHT, 18 </a:t>
            </a:r>
            <a:r>
              <a:rPr lang="de-DE" err="1"/>
              <a:t>pt</a:t>
            </a:r>
            <a:endParaRPr lang="de-DE"/>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de-DE"/>
              <a:t>Kapitel-</a:t>
            </a:r>
            <a:r>
              <a:rPr lang="de-DE" err="1"/>
              <a:t>Trenner</a:t>
            </a:r>
            <a:r>
              <a:rPr lang="de-DE"/>
              <a:t>, </a:t>
            </a:r>
            <a:r>
              <a:rPr lang="de-DE" err="1"/>
              <a:t>Delivery</a:t>
            </a:r>
            <a:r>
              <a:rPr lang="de-DE"/>
              <a:t> CONDENSED BLACK,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6" y="0"/>
            <a:ext cx="3851275" cy="5148000"/>
          </a:xfrm>
          <a:prstGeom prst="rect">
            <a:avLst/>
          </a:prstGeom>
          <a:solidFill>
            <a:srgbClr val="CCCCCC"/>
          </a:solidFill>
        </p:spPr>
        <p:txBody>
          <a:bodyPr lIns="72000" tIns="72000" rIns="72000" bIns="72000"/>
          <a:lstStyle>
            <a:lvl1pPr>
              <a:defRPr/>
            </a:lvl1pPr>
          </a:lstStyle>
          <a:p>
            <a:r>
              <a:rPr lang="de-DE" err="1"/>
              <a:t>Please</a:t>
            </a:r>
            <a:r>
              <a:rPr lang="de-DE"/>
              <a:t> </a:t>
            </a:r>
            <a:r>
              <a:rPr lang="de-DE" err="1"/>
              <a:t>click</a:t>
            </a:r>
            <a:r>
              <a:rPr lang="de-DE"/>
              <a:t> </a:t>
            </a:r>
            <a:r>
              <a:rPr lang="de-DE" err="1"/>
              <a:t>the</a:t>
            </a:r>
            <a:r>
              <a:rPr lang="de-DE"/>
              <a:t> </a:t>
            </a:r>
            <a:r>
              <a:rPr lang="de-DE" err="1"/>
              <a:t>icon</a:t>
            </a:r>
            <a:r>
              <a:rPr lang="de-DE"/>
              <a:t> </a:t>
            </a:r>
            <a:r>
              <a:rPr lang="de-DE" err="1"/>
              <a:t>to</a:t>
            </a:r>
            <a:r>
              <a:rPr lang="de-DE"/>
              <a:t> </a:t>
            </a:r>
            <a:r>
              <a:rPr lang="de-DE" err="1"/>
              <a:t>insert</a:t>
            </a:r>
            <a:r>
              <a:rPr lang="de-DE"/>
              <a:t> an </a:t>
            </a:r>
            <a:r>
              <a:rPr lang="de-DE" err="1"/>
              <a:t>image</a:t>
            </a:r>
            <a:endParaRPr lang="de-DE"/>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22926674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Spalt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Sustainability Summit | Hamburg | 26. </a:t>
            </a:r>
            <a:r>
              <a:rPr lang="en-US" err="1"/>
              <a:t>Juni</a:t>
            </a:r>
            <a:r>
              <a:rPr lang="en-US"/>
              <a:t> 2025</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323850" y="1150938"/>
            <a:ext cx="2722563" cy="3530600"/>
          </a:xfrm>
          <a:prstGeom prst="rect">
            <a:avLst/>
          </a:prstGeom>
        </p:spPr>
        <p:txBody>
          <a:bodyPr/>
          <a:lstStyle>
            <a:lvl1pPr marL="252000" indent="-252000">
              <a:spcBef>
                <a:spcPts val="1400"/>
              </a:spcBef>
              <a:spcAft>
                <a:spcPts val="0"/>
              </a:spcAft>
              <a:buAutoNum type="arabicPlain"/>
              <a:defRPr b="1"/>
            </a:lvl1pPr>
            <a:lvl2pPr marL="252000" indent="0">
              <a:lnSpc>
                <a:spcPct val="100000"/>
              </a:lnSpc>
              <a:spcAft>
                <a:spcPts val="0"/>
              </a:spcAft>
              <a:buNone/>
              <a:defRPr/>
            </a:lvl2pPr>
          </a:lstStyle>
          <a:p>
            <a:pPr lvl="0"/>
            <a:r>
              <a:rPr lang="de-DE"/>
              <a:t>Beispielabschnitt, </a:t>
            </a:r>
            <a:r>
              <a:rPr lang="de-DE" err="1"/>
              <a:t>Delivery</a:t>
            </a:r>
            <a:r>
              <a:rPr lang="de-DE"/>
              <a:t> </a:t>
            </a:r>
            <a:r>
              <a:rPr lang="de-DE" err="1"/>
              <a:t>Bold</a:t>
            </a:r>
            <a:r>
              <a:rPr lang="de-DE"/>
              <a:t>, </a:t>
            </a:r>
            <a:br>
              <a:rPr lang="de-DE"/>
            </a:br>
            <a:r>
              <a:rPr lang="de-DE"/>
              <a:t>12 </a:t>
            </a:r>
            <a:r>
              <a:rPr lang="de-DE" err="1"/>
              <a:t>pt</a:t>
            </a:r>
            <a:endParaRPr lang="de-DE"/>
          </a:p>
          <a:p>
            <a:pPr lvl="1"/>
            <a:r>
              <a:rPr lang="de-DE"/>
              <a:t>Beispieltext, </a:t>
            </a:r>
            <a:r>
              <a:rPr lang="de-DE" err="1"/>
              <a:t>Delivery</a:t>
            </a:r>
            <a:r>
              <a:rPr lang="de-DE"/>
              <a:t>, 12 </a:t>
            </a:r>
            <a:r>
              <a:rPr lang="de-DE" err="1"/>
              <a:t>pt</a:t>
            </a:r>
            <a:endParaRPr lang="de-DE"/>
          </a:p>
          <a:p>
            <a:pPr lvl="0"/>
            <a:endParaRPr lang="de-DE"/>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3208339" y="1150938"/>
            <a:ext cx="2722564" cy="3530600"/>
          </a:xfrm>
          <a:prstGeom prst="rect">
            <a:avLst/>
          </a:prstGeom>
        </p:spPr>
        <p:txBody>
          <a:bodyPr/>
          <a:lstStyle>
            <a:lvl1pPr marL="252000" indent="-252000">
              <a:spcBef>
                <a:spcPts val="1400"/>
              </a:spcBef>
              <a:spcAft>
                <a:spcPts val="0"/>
              </a:spcAft>
              <a:buAutoNum type="arabicPlain" startAt="7"/>
              <a:defRPr b="1"/>
            </a:lvl1pPr>
            <a:lvl2pPr marL="252000" indent="0">
              <a:lnSpc>
                <a:spcPct val="100000"/>
              </a:lnSpc>
              <a:spcAft>
                <a:spcPts val="0"/>
              </a:spcAft>
              <a:buNone/>
              <a:defRPr/>
            </a:lvl2pPr>
          </a:lstStyle>
          <a:p>
            <a:pPr lvl="0"/>
            <a:r>
              <a:rPr lang="de-DE"/>
              <a:t>Beispielabschnitt, </a:t>
            </a:r>
            <a:r>
              <a:rPr lang="de-DE" err="1"/>
              <a:t>Delivery</a:t>
            </a:r>
            <a:r>
              <a:rPr lang="de-DE"/>
              <a:t> </a:t>
            </a:r>
            <a:r>
              <a:rPr lang="de-DE" err="1"/>
              <a:t>Bold</a:t>
            </a:r>
            <a:r>
              <a:rPr lang="de-DE"/>
              <a:t>, </a:t>
            </a:r>
            <a:br>
              <a:rPr lang="de-DE"/>
            </a:br>
            <a:r>
              <a:rPr lang="de-DE"/>
              <a:t>12 </a:t>
            </a:r>
            <a:r>
              <a:rPr lang="de-DE" err="1"/>
              <a:t>pt</a:t>
            </a:r>
            <a:endParaRPr lang="de-DE"/>
          </a:p>
          <a:p>
            <a:pPr lvl="1"/>
            <a:r>
              <a:rPr lang="de-DE"/>
              <a:t>Beispieltext, </a:t>
            </a:r>
            <a:r>
              <a:rPr lang="de-DE" err="1"/>
              <a:t>Delivery</a:t>
            </a:r>
            <a:r>
              <a:rPr lang="de-DE"/>
              <a:t>, 12 </a:t>
            </a:r>
            <a:r>
              <a:rPr lang="de-DE" err="1"/>
              <a:t>pt</a:t>
            </a:r>
            <a:endParaRPr lang="de-DE"/>
          </a:p>
          <a:p>
            <a:pPr lvl="0"/>
            <a:endParaRPr lang="de-DE"/>
          </a:p>
          <a:p>
            <a:pPr lvl="0"/>
            <a:endParaRPr lang="de-DE"/>
          </a:p>
        </p:txBody>
      </p:sp>
    </p:spTree>
    <p:extLst>
      <p:ext uri="{BB962C8B-B14F-4D97-AF65-F5344CB8AC3E}">
        <p14:creationId xmlns:p14="http://schemas.microsoft.com/office/powerpoint/2010/main" val="149280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 Titel u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de-DE"/>
              <a:t>Überschrift mit ein oder zwei Zeilen, </a:t>
            </a:r>
            <a:r>
              <a:rPr lang="de-DE" err="1"/>
              <a:t>Delivery</a:t>
            </a:r>
            <a:r>
              <a:rPr lang="de-DE"/>
              <a:t> </a:t>
            </a:r>
            <a:r>
              <a:rPr lang="de-DE" err="1"/>
              <a:t>Bold</a:t>
            </a:r>
            <a:r>
              <a:rPr lang="de-DE"/>
              <a:t>, 18 </a:t>
            </a:r>
            <a:r>
              <a:rPr lang="de-DE" err="1"/>
              <a:t>pt</a:t>
            </a:r>
            <a:endParaRPr lang="de-DE"/>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Sustainability Summit | Hamburg | 26. </a:t>
            </a:r>
            <a:r>
              <a:rPr lang="en-US" err="1"/>
              <a:t>Juni</a:t>
            </a:r>
            <a:r>
              <a:rPr lang="en-US"/>
              <a:t> 2025</a:t>
            </a:r>
            <a:endParaRPr lang="de-DE"/>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de-DE" smtClean="0"/>
              <a:pPr/>
              <a:t>‹#›</a:t>
            </a:fld>
            <a:endParaRPr lang="de-DE"/>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de-DE"/>
              <a:t> </a:t>
            </a:r>
          </a:p>
        </p:txBody>
      </p:sp>
      <p:sp>
        <p:nvSpPr>
          <p:cNvPr id="7" name="Inhaltsplatzhalter 6">
            <a:extLst>
              <a:ext uri="{FF2B5EF4-FFF2-40B4-BE49-F238E27FC236}">
                <a16:creationId xmlns:a16="http://schemas.microsoft.com/office/drawing/2014/main" id="{4307149A-9FD9-4366-A1ED-3DAED4AA4BB8}"/>
              </a:ext>
            </a:extLst>
          </p:cNvPr>
          <p:cNvSpPr>
            <a:spLocks noGrp="1"/>
          </p:cNvSpPr>
          <p:nvPr>
            <p:ph sz="quarter" idx="15" hasCustomPrompt="1"/>
          </p:nvPr>
        </p:nvSpPr>
        <p:spPr>
          <a:xfrm>
            <a:off x="324000" y="1150938"/>
            <a:ext cx="8495999" cy="3528000"/>
          </a:xfrm>
          <a:prstGeom prst="rect">
            <a:avLst/>
          </a:prstGeom>
        </p:spPr>
        <p:txBody>
          <a:bodyPr/>
          <a:lstStyle>
            <a:lvl2pPr>
              <a:defRPr/>
            </a:lvl2pPr>
            <a:lvl5pPr>
              <a:defRPr/>
            </a:lvl5pPr>
            <a:lvl6pPr>
              <a:defRPr sz="1200"/>
            </a:lvl6pPr>
            <a:lvl7pPr>
              <a:defRPr sz="1200"/>
            </a:lvl7pPr>
          </a:lstStyle>
          <a:p>
            <a:pPr lvl="0"/>
            <a:r>
              <a:rPr lang="de-DE"/>
              <a:t>Fließtext in </a:t>
            </a:r>
            <a:r>
              <a:rPr lang="de-DE" err="1"/>
              <a:t>Delivery</a:t>
            </a:r>
            <a:r>
              <a:rPr lang="de-DE"/>
              <a:t>, 12 </a:t>
            </a:r>
            <a:r>
              <a:rPr lang="de-DE" err="1"/>
              <a:t>pt</a:t>
            </a:r>
            <a:endParaRPr lang="de-DE"/>
          </a:p>
          <a:p>
            <a:pPr lvl="1"/>
            <a:r>
              <a:rPr lang="de-DE"/>
              <a:t>Aufzählung, </a:t>
            </a:r>
            <a:r>
              <a:rPr lang="de-DE" err="1"/>
              <a:t>Delivery</a:t>
            </a:r>
            <a:r>
              <a:rPr lang="de-DE"/>
              <a:t>, 12 </a:t>
            </a:r>
            <a:r>
              <a:rPr lang="de-DE" err="1"/>
              <a:t>pt</a:t>
            </a:r>
            <a:endParaRPr lang="de-DE"/>
          </a:p>
          <a:p>
            <a:pPr lvl="2"/>
            <a:r>
              <a:rPr lang="de-DE"/>
              <a:t>Aufzählung, </a:t>
            </a:r>
            <a:r>
              <a:rPr lang="de-DE" err="1"/>
              <a:t>Delivery</a:t>
            </a:r>
            <a:r>
              <a:rPr lang="de-DE"/>
              <a:t>, 12 </a:t>
            </a:r>
            <a:r>
              <a:rPr lang="de-DE" err="1"/>
              <a:t>pt</a:t>
            </a:r>
            <a:r>
              <a:rPr lang="de-DE"/>
              <a:t> </a:t>
            </a:r>
          </a:p>
          <a:p>
            <a:pPr lvl="3"/>
            <a:r>
              <a:rPr lang="de-DE"/>
              <a:t>Aufzählung, </a:t>
            </a:r>
            <a:r>
              <a:rPr lang="de-DE" err="1"/>
              <a:t>Delivery</a:t>
            </a:r>
            <a:r>
              <a:rPr lang="de-DE"/>
              <a:t>, 12 </a:t>
            </a:r>
            <a:r>
              <a:rPr lang="de-DE" err="1"/>
              <a:t>pt</a:t>
            </a:r>
            <a:r>
              <a:rPr lang="de-DE"/>
              <a:t> </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a:t>
            </a:r>
            <a:r>
              <a:rPr lang="de-DE"/>
              <a:t> </a:t>
            </a:r>
            <a:r>
              <a:rPr lang="de-DE" err="1"/>
              <a:t>Bold</a:t>
            </a:r>
            <a:r>
              <a:rPr lang="de-DE"/>
              <a:t>, 12 </a:t>
            </a:r>
            <a:r>
              <a:rPr lang="de-DE" err="1"/>
              <a:t>pt</a:t>
            </a:r>
            <a:endParaRPr lang="de-DE"/>
          </a:p>
          <a:p>
            <a:pPr lvl="6"/>
            <a:r>
              <a:rPr lang="de-DE"/>
              <a:t>Nummerierte Aufzählung, </a:t>
            </a:r>
            <a:r>
              <a:rPr lang="de-DE" err="1"/>
              <a:t>Delivery</a:t>
            </a:r>
            <a:r>
              <a:rPr lang="de-DE"/>
              <a:t>, 12 </a:t>
            </a:r>
            <a:r>
              <a:rPr lang="de-DE" err="1"/>
              <a:t>pt</a:t>
            </a:r>
            <a:r>
              <a:rPr lang="de-DE"/>
              <a:t> </a:t>
            </a:r>
          </a:p>
          <a:p>
            <a:pPr lvl="6"/>
            <a:endParaRPr lang="de-DE"/>
          </a:p>
        </p:txBody>
      </p:sp>
    </p:spTree>
    <p:extLst>
      <p:ext uri="{BB962C8B-B14F-4D97-AF65-F5344CB8AC3E}">
        <p14:creationId xmlns:p14="http://schemas.microsoft.com/office/powerpoint/2010/main" val="40838224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323999" y="4803982"/>
            <a:ext cx="8117532" cy="138499"/>
          </a:xfrm>
          <a:prstGeom prst="rect">
            <a:avLst/>
          </a:prstGeom>
        </p:spPr>
        <p:txBody>
          <a:bodyPr vert="horz" lIns="0" tIns="0" rIns="0" bIns="0" rtlCol="0" anchor="ctr">
            <a:noAutofit/>
          </a:bodyPr>
          <a:lstStyle>
            <a:lvl1pPr algn="l">
              <a:defRPr sz="900">
                <a:solidFill>
                  <a:schemeClr val="tx1"/>
                </a:solidFill>
              </a:defRPr>
            </a:lvl1pPr>
          </a:lstStyle>
          <a:p>
            <a:r>
              <a:rPr lang="en-US"/>
              <a:t>Sustainability Summit | Hamburg | 26. </a:t>
            </a:r>
            <a:r>
              <a:rPr lang="en-US" err="1"/>
              <a:t>Juni</a:t>
            </a:r>
            <a:r>
              <a:rPr lang="en-US"/>
              <a:t> 2025</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8441531" y="4803982"/>
            <a:ext cx="378469" cy="138499"/>
          </a:xfrm>
          <a:prstGeom prst="rect">
            <a:avLst/>
          </a:prstGeom>
        </p:spPr>
        <p:txBody>
          <a:bodyPr vert="horz" lIns="0" tIns="0" rIns="0" bIns="0" rtlCol="0" anchor="ctr"/>
          <a:lstStyle>
            <a:lvl1pPr algn="r">
              <a:defRPr sz="900">
                <a:solidFill>
                  <a:schemeClr val="tx1"/>
                </a:solidFill>
              </a:defRPr>
            </a:lvl1pPr>
          </a:lstStyle>
          <a:p>
            <a:fld id="{C2245BC1-4D7B-4ED3-8F01-840FA35126C6}" type="slidenum">
              <a:rPr lang="en-US" smtClean="0"/>
              <a:pPr/>
              <a:t>‹#›</a:t>
            </a:fld>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de-DE"/>
              <a:t>Überschrift mit ein oder zwei Zeilen, </a:t>
            </a:r>
            <a:r>
              <a:rPr lang="de-DE" err="1"/>
              <a:t>DeliveryBold</a:t>
            </a:r>
            <a:r>
              <a:rPr lang="de-DE"/>
              <a:t>, 18 </a:t>
            </a:r>
            <a:r>
              <a:rPr lang="de-DE" err="1"/>
              <a:t>pt</a:t>
            </a:r>
            <a:endParaRPr lang="en-US"/>
          </a:p>
        </p:txBody>
      </p:sp>
      <p:sp>
        <p:nvSpPr>
          <p:cNvPr id="3" name="Textplatzhalter 2">
            <a:extLst>
              <a:ext uri="{FF2B5EF4-FFF2-40B4-BE49-F238E27FC236}">
                <a16:creationId xmlns:a16="http://schemas.microsoft.com/office/drawing/2014/main" id="{54F39C96-9B5E-4A54-82BD-783D4D6F1235}"/>
              </a:ext>
            </a:extLst>
          </p:cNvPr>
          <p:cNvSpPr>
            <a:spLocks noGrp="1"/>
          </p:cNvSpPr>
          <p:nvPr>
            <p:ph type="body" idx="1"/>
          </p:nvPr>
        </p:nvSpPr>
        <p:spPr>
          <a:xfrm>
            <a:off x="323851" y="1150938"/>
            <a:ext cx="8496148" cy="3530600"/>
          </a:xfrm>
          <a:prstGeom prst="rect">
            <a:avLst/>
          </a:prstGeom>
        </p:spPr>
        <p:txBody>
          <a:bodyPr vert="horz" lIns="0" tIns="0" rIns="0" bIns="0" rtlCol="0">
            <a:noAutofit/>
          </a:bodyPr>
          <a:lstStyle/>
          <a:p>
            <a:pPr lvl="0"/>
            <a:r>
              <a:rPr lang="de-DE"/>
              <a:t>Fließtext in </a:t>
            </a:r>
            <a:r>
              <a:rPr lang="de-DE" err="1"/>
              <a:t>Delivery</a:t>
            </a:r>
            <a:r>
              <a:rPr lang="de-DE"/>
              <a:t>, 12 </a:t>
            </a:r>
            <a:r>
              <a:rPr lang="de-DE" err="1"/>
              <a:t>pt</a:t>
            </a:r>
            <a:endParaRPr lang="de-DE"/>
          </a:p>
          <a:p>
            <a:pPr lvl="1"/>
            <a:r>
              <a:rPr lang="de-DE"/>
              <a:t>Aufzählung Bullet, </a:t>
            </a:r>
            <a:r>
              <a:rPr lang="de-DE" err="1"/>
              <a:t>Delivery</a:t>
            </a:r>
            <a:r>
              <a:rPr lang="de-DE"/>
              <a:t>, 12 </a:t>
            </a:r>
            <a:r>
              <a:rPr lang="de-DE" err="1"/>
              <a:t>pt</a:t>
            </a:r>
            <a:endParaRPr lang="de-DE"/>
          </a:p>
          <a:p>
            <a:pPr lvl="2"/>
            <a:r>
              <a:rPr lang="de-DE"/>
              <a:t>Aufzählung Bullet, Deliver 12</a:t>
            </a:r>
          </a:p>
          <a:p>
            <a:pPr lvl="3"/>
            <a:r>
              <a:rPr lang="de-DE"/>
              <a:t>Aufzählung Bullet, </a:t>
            </a:r>
            <a:r>
              <a:rPr lang="de-DE" err="1"/>
              <a:t>Delivery</a:t>
            </a:r>
            <a:r>
              <a:rPr lang="de-DE"/>
              <a:t> 12</a:t>
            </a:r>
          </a:p>
          <a:p>
            <a:pPr lvl="4"/>
            <a:r>
              <a:rPr lang="de-DE"/>
              <a:t>Action title, </a:t>
            </a:r>
            <a:r>
              <a:rPr lang="de-DE" err="1"/>
              <a:t>Delivery</a:t>
            </a:r>
            <a:r>
              <a:rPr lang="de-DE"/>
              <a:t> Regular, 15 </a:t>
            </a:r>
            <a:r>
              <a:rPr lang="de-DE" err="1"/>
              <a:t>pt</a:t>
            </a:r>
            <a:endParaRPr lang="de-DE"/>
          </a:p>
          <a:p>
            <a:pPr lvl="5"/>
            <a:r>
              <a:rPr lang="de-DE"/>
              <a:t>Absatzüberschrift, </a:t>
            </a:r>
            <a:r>
              <a:rPr lang="de-DE" err="1"/>
              <a:t>DeliveryBold</a:t>
            </a:r>
            <a:r>
              <a:rPr lang="de-DE"/>
              <a:t>, 12 </a:t>
            </a:r>
            <a:r>
              <a:rPr lang="de-DE" err="1"/>
              <a:t>pt</a:t>
            </a:r>
            <a:endParaRPr lang="de-DE"/>
          </a:p>
          <a:p>
            <a:pPr lvl="6"/>
            <a:r>
              <a:rPr lang="de-DE"/>
              <a:t>Nummerierte Aufzählung, </a:t>
            </a:r>
            <a:r>
              <a:rPr lang="de-DE" err="1"/>
              <a:t>Delivery</a:t>
            </a:r>
            <a:r>
              <a:rPr lang="de-DE"/>
              <a:t>, 12 </a:t>
            </a:r>
            <a:r>
              <a:rPr lang="de-DE" err="1"/>
              <a:t>pt</a:t>
            </a:r>
            <a:endParaRPr lang="de-DE"/>
          </a:p>
        </p:txBody>
      </p:sp>
      <p:graphicFrame>
        <p:nvGraphicFramePr>
          <p:cNvPr id="8" name="Objekt 7" hidden="1">
            <a:extLst>
              <a:ext uri="{FF2B5EF4-FFF2-40B4-BE49-F238E27FC236}">
                <a16:creationId xmlns:a16="http://schemas.microsoft.com/office/drawing/2014/main" id="{7F297053-4BB7-484F-9276-0D1793308691}"/>
              </a:ext>
            </a:extLst>
          </p:cNvPr>
          <p:cNvGraphicFramePr>
            <a:graphicFrameLocks noChangeAspect="1"/>
          </p:cNvGraphicFramePr>
          <p:nvPr userDrawn="1">
            <p:custDataLst>
              <p:tags r:id="rId27"/>
            </p:custDataLst>
            <p:extLst>
              <p:ext uri="{D42A27DB-BD31-4B8C-83A1-F6EECF244321}">
                <p14:modId xmlns:p14="http://schemas.microsoft.com/office/powerpoint/2010/main" val="343887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47" imgH="348" progId="TCLayout.ActiveDocument.1">
                  <p:embed/>
                </p:oleObj>
              </mc:Choice>
              <mc:Fallback>
                <p:oleObj name="think-cell Slide" r:id="rId29" imgW="347" imgH="348" progId="TCLayout.ActiveDocument.1">
                  <p:embed/>
                  <p:pic>
                    <p:nvPicPr>
                      <p:cNvPr id="8" name="Objekt 7" hidden="1">
                        <a:extLst>
                          <a:ext uri="{FF2B5EF4-FFF2-40B4-BE49-F238E27FC236}">
                            <a16:creationId xmlns:a16="http://schemas.microsoft.com/office/drawing/2014/main" id="{7F297053-4BB7-484F-9276-0D179330869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158112B3-71E0-4AED-A1B7-DEED31B6B3F9}"/>
              </a:ext>
            </a:extLst>
          </p:cNvPr>
          <p:cNvSpPr/>
          <p:nvPr userDrawn="1">
            <p:custDataLst>
              <p:tags r:id="rId2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lvl="0" indent="0" algn="l" eaLnBrk="1"/>
            <a:endParaRPr lang="en-US" sz="1800" b="1" i="0" baseline="0" err="1">
              <a:solidFill>
                <a:schemeClr val="tx1"/>
              </a:solidFill>
              <a:latin typeface="Delivery" panose="020F0503020204020204" pitchFamily="34" charset="0"/>
              <a:ea typeface="+mj-ea"/>
              <a:cs typeface="+mj-cs"/>
              <a:sym typeface="Delivery" panose="020F0503020204020204" pitchFamily="34" charset="0"/>
            </a:endParaRPr>
          </a:p>
        </p:txBody>
      </p:sp>
      <p:sp>
        <p:nvSpPr>
          <p:cNvPr id="2" name="Textfeld 1">
            <a:extLst>
              <a:ext uri="{FF2B5EF4-FFF2-40B4-BE49-F238E27FC236}">
                <a16:creationId xmlns:a16="http://schemas.microsoft.com/office/drawing/2014/main" id="{8C37290D-4B01-46AD-A271-B644D5A9DF26}"/>
              </a:ext>
            </a:extLst>
          </p:cNvPr>
          <p:cNvSpPr txBox="1"/>
          <p:nvPr>
            <p:extLst>
              <p:ext uri="{1162E1C5-73C7-4A58-AE30-91384D911F3F}">
                <p184:classification xmlns:p184="http://schemas.microsoft.com/office/powerpoint/2018/4/main" val="hdr"/>
              </p:ext>
            </p:extLst>
          </p:nvPr>
        </p:nvSpPr>
        <p:spPr>
          <a:xfrm>
            <a:off x="63500" y="63500"/>
            <a:ext cx="1390650" cy="152400"/>
          </a:xfrm>
          <a:prstGeom prst="rect">
            <a:avLst/>
          </a:prstGeom>
        </p:spPr>
        <p:txBody>
          <a:bodyPr horzOverflow="overflow" lIns="0" tIns="0" rIns="0" bIns="0">
            <a:spAutoFit/>
          </a:bodyPr>
          <a:lstStyle/>
          <a:p>
            <a:pPr algn="l"/>
            <a:r>
              <a:rPr lang="de-D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Tree>
    <p:extLst>
      <p:ext uri="{BB962C8B-B14F-4D97-AF65-F5344CB8AC3E}">
        <p14:creationId xmlns:p14="http://schemas.microsoft.com/office/powerpoint/2010/main" val="96012795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810" r:id="rId23"/>
    <p:sldLayoutId id="2147483811" r:id="rId24"/>
    <p:sldLayoutId id="2147483813" r:id="rId2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9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9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204">
          <p15:clr>
            <a:srgbClr val="F26B43"/>
          </p15:clr>
        </p15:guide>
        <p15:guide id="20" pos="5556">
          <p15:clr>
            <a:srgbClr val="F26B43"/>
          </p15:clr>
        </p15:guide>
        <p15:guide id="21" orient="horz" pos="725">
          <p15:clr>
            <a:srgbClr val="F26B43"/>
          </p15:clr>
        </p15:guide>
        <p15:guide id="22" orient="horz" pos="2949">
          <p15:clr>
            <a:srgbClr val="F26B43"/>
          </p15:clr>
        </p15:guide>
        <p15:guide id="23" orient="horz"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6.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oleObject" Target="../embeddings/oleObject9.bin"/><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slideLayout" Target="../slideLayouts/slideLayout24.xml"/><Relationship Id="rId1" Type="http://schemas.openxmlformats.org/officeDocument/2006/relationships/tags" Target="../tags/tag35.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29.emf"/><Relationship Id="rId9" Type="http://schemas.openxmlformats.org/officeDocument/2006/relationships/image" Target="../media/image52.png"/><Relationship Id="rId14" Type="http://schemas.openxmlformats.org/officeDocument/2006/relationships/image" Target="../media/image57.png"/></Relationships>
</file>

<file path=ppt/slides/_rels/slide1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oleObject" Target="../embeddings/oleObject9.bin"/><Relationship Id="rId7" Type="http://schemas.openxmlformats.org/officeDocument/2006/relationships/image" Target="../media/image60.jpeg"/><Relationship Id="rId2" Type="http://schemas.openxmlformats.org/officeDocument/2006/relationships/slideLayout" Target="../slideLayouts/slideLayout24.xml"/><Relationship Id="rId1" Type="http://schemas.openxmlformats.org/officeDocument/2006/relationships/tags" Target="../tags/tag36.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29.emf"/><Relationship Id="rId9" Type="http://schemas.openxmlformats.org/officeDocument/2006/relationships/hyperlink" Target="https://www.dm.de/services/onlineshop/lieferung-und-versand/dhlgogreenplus-1850340"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emf"/><Relationship Id="rId1" Type="http://schemas.openxmlformats.org/officeDocument/2006/relationships/slideLayout" Target="../slideLayouts/slideLayout2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9.xml"/><Relationship Id="rId5" Type="http://schemas.openxmlformats.org/officeDocument/2006/relationships/image" Target="../media/image27.sv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9.xml"/><Relationship Id="rId7" Type="http://schemas.openxmlformats.org/officeDocument/2006/relationships/image" Target="../media/image29.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6.bin"/><Relationship Id="rId5" Type="http://schemas.openxmlformats.org/officeDocument/2006/relationships/image" Target="../media/image28.jpeg"/><Relationship Id="rId10" Type="http://schemas.openxmlformats.org/officeDocument/2006/relationships/image" Target="../media/image32.png"/><Relationship Id="rId4" Type="http://schemas.openxmlformats.org/officeDocument/2006/relationships/notesSlide" Target="../notesSlides/notesSlide3.xml"/><Relationship Id="rId9" Type="http://schemas.openxmlformats.org/officeDocument/2006/relationships/image" Target="../media/image3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4.xml"/><Relationship Id="rId7" Type="http://schemas.openxmlformats.org/officeDocument/2006/relationships/image" Target="../media/image36.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8.bin"/><Relationship Id="rId5" Type="http://schemas.openxmlformats.org/officeDocument/2006/relationships/image" Target="../media/image35.jpeg"/><Relationship Id="rId4" Type="http://schemas.openxmlformats.org/officeDocument/2006/relationships/notesSlide" Target="../notesSlides/notesSlide5.xml"/><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4.xml"/><Relationship Id="rId7" Type="http://schemas.openxmlformats.org/officeDocument/2006/relationships/image" Target="../media/image36.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8.bin"/><Relationship Id="rId5" Type="http://schemas.openxmlformats.org/officeDocument/2006/relationships/image" Target="../media/image39.jpe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41.png"/><Relationship Id="rId3" Type="http://schemas.openxmlformats.org/officeDocument/2006/relationships/tags" Target="../tags/tag22.xml"/><Relationship Id="rId21" Type="http://schemas.openxmlformats.org/officeDocument/2006/relationships/image" Target="../media/image44.pn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notesSlide" Target="../notesSlides/notesSlide7.xml"/><Relationship Id="rId2" Type="http://schemas.openxmlformats.org/officeDocument/2006/relationships/tags" Target="../tags/tag21.xml"/><Relationship Id="rId16" Type="http://schemas.openxmlformats.org/officeDocument/2006/relationships/slideLayout" Target="../slideLayouts/slideLayout10.xml"/><Relationship Id="rId20" Type="http://schemas.openxmlformats.org/officeDocument/2006/relationships/image" Target="../media/image43.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47.pn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46.png"/><Relationship Id="rId10" Type="http://schemas.openxmlformats.org/officeDocument/2006/relationships/tags" Target="../tags/tag29.xml"/><Relationship Id="rId19" Type="http://schemas.openxmlformats.org/officeDocument/2006/relationships/image" Target="../media/image42.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yellow van parked on the side of a road&#10;&#10;Description automatically generated with medium confidence">
            <a:extLst>
              <a:ext uri="{FF2B5EF4-FFF2-40B4-BE49-F238E27FC236}">
                <a16:creationId xmlns:a16="http://schemas.microsoft.com/office/drawing/2014/main" id="{4F7334FA-C3BB-7044-B7BD-D63E8C0CE662}"/>
              </a:ext>
            </a:extLst>
          </p:cNvPr>
          <p:cNvPicPr>
            <a:picLocks noGrp="1" noChangeAspect="1"/>
          </p:cNvPicPr>
          <p:nvPr>
            <p:ph type="pic" sz="quarter" idx="14"/>
          </p:nvPr>
        </p:nvPicPr>
        <p:blipFill rotWithShape="1">
          <a:blip r:embed="rId5">
            <a:extLst>
              <a:ext uri="{28A0092B-C50C-407E-A947-70E740481C1C}">
                <a14:useLocalDpi xmlns:a14="http://schemas.microsoft.com/office/drawing/2010/main" val="0"/>
              </a:ext>
            </a:extLst>
          </a:blip>
          <a:srcRect t="7757" b="7757"/>
          <a:stretch/>
        </p:blipFill>
        <p:spPr/>
      </p:pic>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3600" b="1" i="0" u="none" strike="noStrike" kern="1200" cap="none" spc="0" normalizeH="0" baseline="0" noProof="0" err="1">
              <a:ln>
                <a:noFill/>
              </a:ln>
              <a:solidFill>
                <a:prstClr val="black"/>
              </a:solidFill>
              <a:effectLst/>
              <a:uLnTx/>
              <a:uFillTx/>
              <a:latin typeface="Delivery Cd Black" panose="020F0906020204020204" pitchFamily="34" charset="0"/>
              <a:ea typeface="+mn-ea"/>
              <a:cs typeface="+mn-cs"/>
              <a:sym typeface="Delivery Cd Black" panose="020F0906020204020204" pitchFamily="34" charset="0"/>
            </a:endParaRPr>
          </a:p>
        </p:txBody>
      </p:sp>
      <p:sp>
        <p:nvSpPr>
          <p:cNvPr id="11" name="TextBox 10">
            <a:extLst>
              <a:ext uri="{FF2B5EF4-FFF2-40B4-BE49-F238E27FC236}">
                <a16:creationId xmlns:a16="http://schemas.microsoft.com/office/drawing/2014/main" id="{7D7E5DC8-A990-264A-B7AB-6F223D9B2A0D}"/>
              </a:ext>
            </a:extLst>
          </p:cNvPr>
          <p:cNvSpPr txBox="1"/>
          <p:nvPr/>
        </p:nvSpPr>
        <p:spPr>
          <a:xfrm>
            <a:off x="-2884714" y="522514"/>
            <a:ext cx="0" cy="0"/>
          </a:xfrm>
          <a:prstGeom prst="rect">
            <a:avLst/>
          </a:prstGeom>
          <a:noFill/>
        </p:spPr>
        <p:txBody>
          <a:bodyPr wrap="non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endParaRPr kumimoji="0" lang="de-DE" sz="1200" b="0" i="0" u="none" strike="noStrike" kern="1200" cap="none" spc="0" normalizeH="0" baseline="0" noProof="0" err="1">
              <a:ln>
                <a:noFill/>
              </a:ln>
              <a:solidFill>
                <a:prstClr val="black"/>
              </a:solidFill>
              <a:effectLst/>
              <a:uLnTx/>
              <a:uFillTx/>
              <a:latin typeface="Delivery"/>
              <a:ea typeface="+mn-ea"/>
              <a:cs typeface="+mn-cs"/>
            </a:endParaRPr>
          </a:p>
        </p:txBody>
      </p:sp>
      <p:sp>
        <p:nvSpPr>
          <p:cNvPr id="17" name="Textplatzhalter 16">
            <a:extLst>
              <a:ext uri="{FF2B5EF4-FFF2-40B4-BE49-F238E27FC236}">
                <a16:creationId xmlns:a16="http://schemas.microsoft.com/office/drawing/2014/main" id="{D368B6D4-C2CA-4E0C-B799-B3D1273FA638}"/>
              </a:ext>
            </a:extLst>
          </p:cNvPr>
          <p:cNvSpPr>
            <a:spLocks noGrp="1"/>
          </p:cNvSpPr>
          <p:nvPr>
            <p:ph type="body" sz="quarter" idx="21"/>
          </p:nvPr>
        </p:nvSpPr>
        <p:spPr>
          <a:xfrm>
            <a:off x="7550258" y="4503446"/>
            <a:ext cx="1260000" cy="178092"/>
          </a:xfrm>
        </p:spPr>
        <p:txBody>
          <a:bodyPr/>
          <a:lstStyle/>
          <a:p>
            <a:endParaRPr lang="de-DE"/>
          </a:p>
        </p:txBody>
      </p:sp>
      <p:sp>
        <p:nvSpPr>
          <p:cNvPr id="19" name="Textplatzhalter 18">
            <a:extLst>
              <a:ext uri="{FF2B5EF4-FFF2-40B4-BE49-F238E27FC236}">
                <a16:creationId xmlns:a16="http://schemas.microsoft.com/office/drawing/2014/main" id="{45BCB0A0-5768-43FE-8DC7-D3A46FCD2917}"/>
              </a:ext>
            </a:extLst>
          </p:cNvPr>
          <p:cNvSpPr>
            <a:spLocks noGrp="1"/>
          </p:cNvSpPr>
          <p:nvPr>
            <p:ph type="body" sz="quarter" idx="22"/>
          </p:nvPr>
        </p:nvSpPr>
        <p:spPr>
          <a:xfrm>
            <a:off x="5904578" y="4478015"/>
            <a:ext cx="1476000" cy="246492"/>
          </a:xfrm>
        </p:spPr>
        <p:txBody>
          <a:bodyPr/>
          <a:lstStyle/>
          <a:p>
            <a:endParaRPr lang="de-DE"/>
          </a:p>
        </p:txBody>
      </p:sp>
      <p:sp>
        <p:nvSpPr>
          <p:cNvPr id="5" name="Freeform 2">
            <a:extLst>
              <a:ext uri="{FF2B5EF4-FFF2-40B4-BE49-F238E27FC236}">
                <a16:creationId xmlns:a16="http://schemas.microsoft.com/office/drawing/2014/main" id="{3E554CF7-3EE8-8206-D1DC-B6E7164A2217}"/>
              </a:ext>
            </a:extLst>
          </p:cNvPr>
          <p:cNvSpPr/>
          <p:nvPr/>
        </p:nvSpPr>
        <p:spPr>
          <a:xfrm rot="20261011">
            <a:off x="-1016589" y="-1076832"/>
            <a:ext cx="8493591" cy="4838955"/>
          </a:xfrm>
          <a:custGeom>
            <a:avLst/>
            <a:gdLst>
              <a:gd name="connsiteX0" fmla="*/ 121 w 6830836"/>
              <a:gd name="connsiteY0" fmla="*/ 1587766 h 3719149"/>
              <a:gd name="connsiteX1" fmla="*/ 6830837 w 6830836"/>
              <a:gd name="connsiteY1" fmla="*/ 2139970 h 3719149"/>
              <a:gd name="connsiteX2" fmla="*/ 121 w 6830836"/>
              <a:gd name="connsiteY2" fmla="*/ 1587766 h 3719149"/>
            </a:gdLst>
            <a:ahLst/>
            <a:cxnLst>
              <a:cxn ang="0">
                <a:pos x="connsiteX0" y="connsiteY0"/>
              </a:cxn>
              <a:cxn ang="0">
                <a:pos x="connsiteX1" y="connsiteY1"/>
              </a:cxn>
              <a:cxn ang="0">
                <a:pos x="connsiteX2" y="connsiteY2"/>
              </a:cxn>
            </a:cxnLst>
            <a:rect l="l" t="t" r="r" b="b"/>
            <a:pathLst>
              <a:path w="6830836" h="3719149">
                <a:moveTo>
                  <a:pt x="121" y="1587766"/>
                </a:moveTo>
                <a:cubicBezTo>
                  <a:pt x="-18790" y="1526166"/>
                  <a:pt x="2179248" y="-2293062"/>
                  <a:pt x="6830837" y="2139970"/>
                </a:cubicBezTo>
                <a:cubicBezTo>
                  <a:pt x="6830925" y="2139970"/>
                  <a:pt x="1370750" y="6036726"/>
                  <a:pt x="121" y="1587766"/>
                </a:cubicBezTo>
                <a:close/>
              </a:path>
            </a:pathLst>
          </a:custGeom>
          <a:gradFill>
            <a:gsLst>
              <a:gs pos="30000">
                <a:schemeClr val="accent3"/>
              </a:gs>
              <a:gs pos="79000">
                <a:srgbClr val="FFDE59"/>
              </a:gs>
              <a:gs pos="100000">
                <a:srgbClr val="FFF0B2"/>
              </a:gs>
            </a:gsLst>
            <a:lin ang="16200000" scaled="0"/>
          </a:gradFill>
          <a:ln w="8789"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 name="Titel 1">
            <a:extLst>
              <a:ext uri="{FF2B5EF4-FFF2-40B4-BE49-F238E27FC236}">
                <a16:creationId xmlns:a16="http://schemas.microsoft.com/office/drawing/2014/main" id="{532D3FB5-FE9D-2F70-C54B-D3C3BC2D30A3}"/>
              </a:ext>
            </a:extLst>
          </p:cNvPr>
          <p:cNvSpPr>
            <a:spLocks noGrp="1"/>
          </p:cNvSpPr>
          <p:nvPr>
            <p:ph type="title"/>
          </p:nvPr>
        </p:nvSpPr>
        <p:spPr>
          <a:xfrm>
            <a:off x="314262" y="627552"/>
            <a:ext cx="5590316" cy="908393"/>
          </a:xfrm>
        </p:spPr>
        <p:txBody>
          <a:bodyPr anchor="t"/>
          <a:lstStyle/>
          <a:p>
            <a:r>
              <a:rPr lang="de-DE" sz="2800" b="1" cap="none">
                <a:solidFill>
                  <a:srgbClr val="006443"/>
                </a:solidFill>
                <a:latin typeface="+mn-lt"/>
              </a:rPr>
              <a:t>Nachhaltige Logistik</a:t>
            </a:r>
            <a:br>
              <a:rPr lang="de-DE" sz="2800" b="1" cap="none">
                <a:solidFill>
                  <a:srgbClr val="006443"/>
                </a:solidFill>
                <a:latin typeface="+mn-lt"/>
              </a:rPr>
            </a:br>
            <a:r>
              <a:rPr lang="de-DE" sz="2400" cap="none">
                <a:solidFill>
                  <a:srgbClr val="006443"/>
                </a:solidFill>
                <a:latin typeface="+mn-lt"/>
              </a:rPr>
              <a:t>Wie DHL die Dekarbonisierung meistert und gleichzeitig den Kunden einen weiteren Mehrwert bietet</a:t>
            </a:r>
            <a:endParaRPr lang="de-DE" sz="2800" cap="none">
              <a:solidFill>
                <a:srgbClr val="006443"/>
              </a:solidFill>
              <a:latin typeface="+mn-lt"/>
            </a:endParaRPr>
          </a:p>
        </p:txBody>
      </p:sp>
      <p:sp>
        <p:nvSpPr>
          <p:cNvPr id="15" name="Subtitle 1">
            <a:extLst>
              <a:ext uri="{FF2B5EF4-FFF2-40B4-BE49-F238E27FC236}">
                <a16:creationId xmlns:a16="http://schemas.microsoft.com/office/drawing/2014/main" id="{156AB977-115A-5D6E-DAEA-BD0F11F0D35E}"/>
              </a:ext>
            </a:extLst>
          </p:cNvPr>
          <p:cNvSpPr txBox="1">
            <a:spLocks/>
          </p:cNvSpPr>
          <p:nvPr/>
        </p:nvSpPr>
        <p:spPr>
          <a:xfrm>
            <a:off x="314259" y="2445143"/>
            <a:ext cx="3254131" cy="211562"/>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cap="all" baseline="0">
                <a:solidFill>
                  <a:schemeClr val="accent4"/>
                </a:solidFill>
                <a:latin typeface="Delivery Cd Light" panose="020F0406020204020204" pitchFamily="34" charset="0"/>
                <a:ea typeface="+mn-ea"/>
                <a:cs typeface="+mn-cs"/>
              </a:defRPr>
            </a:lvl1pPr>
            <a:lvl2pPr marL="342900" indent="0" algn="ctr" defTabSz="685800" rtl="0" eaLnBrk="1" latinLnBrk="0" hangingPunct="1">
              <a:lnSpc>
                <a:spcPct val="110000"/>
              </a:lnSpc>
              <a:spcBef>
                <a:spcPts val="0"/>
              </a:spcBef>
              <a:spcAft>
                <a:spcPts val="500"/>
              </a:spcAft>
              <a:buClr>
                <a:schemeClr val="accent4"/>
              </a:buClr>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10000"/>
              </a:lnSpc>
              <a:spcBef>
                <a:spcPts val="0"/>
              </a:spcBef>
              <a:spcAft>
                <a:spcPts val="500"/>
              </a:spcAft>
              <a:buClr>
                <a:schemeClr val="accent4"/>
              </a:buClr>
              <a:buFont typeface="Symbol" panose="05050102010706020507" pitchFamily="18" charset="2"/>
              <a:buNone/>
              <a:defRPr sz="1350" kern="1200">
                <a:solidFill>
                  <a:schemeClr val="tx1"/>
                </a:solidFill>
                <a:latin typeface="+mn-lt"/>
                <a:ea typeface="+mn-ea"/>
                <a:cs typeface="+mn-cs"/>
              </a:defRPr>
            </a:lvl3pPr>
            <a:lvl4pPr marL="1028700" indent="0" algn="ctr" defTabSz="685800" rtl="0" eaLnBrk="1" latinLnBrk="0" hangingPunct="1">
              <a:lnSpc>
                <a:spcPct val="110000"/>
              </a:lnSpc>
              <a:spcBef>
                <a:spcPts val="0"/>
              </a:spcBef>
              <a:spcAft>
                <a:spcPts val="500"/>
              </a:spcAft>
              <a:buClr>
                <a:schemeClr val="accent4"/>
              </a:buClr>
              <a:buFont typeface="Symbol" panose="05050102010706020507" pitchFamily="18" charset="2"/>
              <a:buNone/>
              <a:defRPr sz="1200" kern="1200">
                <a:solidFill>
                  <a:schemeClr val="tx1"/>
                </a:solidFill>
                <a:latin typeface="+mn-lt"/>
                <a:ea typeface="+mn-ea"/>
                <a:cs typeface="+mn-cs"/>
              </a:defRPr>
            </a:lvl4pPr>
            <a:lvl5pPr marL="1371600" indent="0" algn="ctr"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2057400" indent="0" algn="ctr" defTabSz="685800" rtl="0" eaLnBrk="1" latinLnBrk="0" hangingPunct="1">
              <a:lnSpc>
                <a:spcPct val="110000"/>
              </a:lnSpc>
              <a:spcBef>
                <a:spcPts val="0"/>
              </a:spcBef>
              <a:spcAft>
                <a:spcPts val="500"/>
              </a:spcAft>
              <a:buClr>
                <a:schemeClr val="accent4"/>
              </a:buClr>
              <a:buFont typeface="+mj-lt"/>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de-DE" sz="1600" b="1" i="0" cap="none">
                <a:solidFill>
                  <a:srgbClr val="181818"/>
                </a:solidFill>
                <a:effectLst/>
                <a:latin typeface="+mn-lt"/>
              </a:rPr>
              <a:t>Hamburg</a:t>
            </a:r>
            <a:r>
              <a:rPr lang="de-DE" sz="1600" b="1" i="0">
                <a:solidFill>
                  <a:srgbClr val="181818"/>
                </a:solidFill>
                <a:effectLst/>
                <a:latin typeface="+mn-lt"/>
              </a:rPr>
              <a:t> | </a:t>
            </a:r>
            <a:r>
              <a:rPr lang="de-DE" sz="1600" b="1">
                <a:solidFill>
                  <a:srgbClr val="181818"/>
                </a:solidFill>
                <a:latin typeface="+mn-lt"/>
              </a:rPr>
              <a:t>26. Juni 2025</a:t>
            </a:r>
            <a:endParaRPr lang="de-DE" sz="1600">
              <a:latin typeface="+mn-lt"/>
            </a:endParaRPr>
          </a:p>
        </p:txBody>
      </p:sp>
      <p:sp>
        <p:nvSpPr>
          <p:cNvPr id="16" name="Untertitel 2">
            <a:extLst>
              <a:ext uri="{FF2B5EF4-FFF2-40B4-BE49-F238E27FC236}">
                <a16:creationId xmlns:a16="http://schemas.microsoft.com/office/drawing/2014/main" id="{6229A5F5-FC77-1E2A-4731-297694053C40}"/>
              </a:ext>
            </a:extLst>
          </p:cNvPr>
          <p:cNvSpPr>
            <a:spLocks noGrp="1"/>
          </p:cNvSpPr>
          <p:nvPr>
            <p:ph type="subTitle" idx="1"/>
          </p:nvPr>
        </p:nvSpPr>
        <p:spPr>
          <a:xfrm>
            <a:off x="314260" y="2174683"/>
            <a:ext cx="3724340" cy="211562"/>
          </a:xfrm>
        </p:spPr>
        <p:txBody>
          <a:bodyPr/>
          <a:lstStyle/>
          <a:p>
            <a:r>
              <a:rPr lang="de-DE" cap="none">
                <a:solidFill>
                  <a:schemeClr val="tx1"/>
                </a:solidFill>
                <a:latin typeface="+mn-lt"/>
              </a:rPr>
              <a:t>Sustainability Summit</a:t>
            </a:r>
            <a:endParaRPr lang="de-DE" sz="1200" cap="none">
              <a:solidFill>
                <a:schemeClr val="tx1"/>
              </a:solidFill>
              <a:latin typeface="+mn-lt"/>
            </a:endParaRPr>
          </a:p>
        </p:txBody>
      </p:sp>
      <p:sp>
        <p:nvSpPr>
          <p:cNvPr id="18" name="Subtitle 1">
            <a:extLst>
              <a:ext uri="{FF2B5EF4-FFF2-40B4-BE49-F238E27FC236}">
                <a16:creationId xmlns:a16="http://schemas.microsoft.com/office/drawing/2014/main" id="{6E5A7EEE-A74F-C6ED-CA96-14A023C287DF}"/>
              </a:ext>
            </a:extLst>
          </p:cNvPr>
          <p:cNvSpPr txBox="1">
            <a:spLocks/>
          </p:cNvSpPr>
          <p:nvPr/>
        </p:nvSpPr>
        <p:spPr>
          <a:xfrm>
            <a:off x="314259" y="2876932"/>
            <a:ext cx="2881787" cy="622676"/>
          </a:xfrm>
          <a:prstGeom prst="rect">
            <a:avLst/>
          </a:prstGeom>
        </p:spPr>
        <p:txBody>
          <a:bodyPr vert="horz" lIns="0" tIns="0" rIns="0" bIns="0" rtlCol="0" anchor="t">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cap="all" baseline="0">
                <a:solidFill>
                  <a:schemeClr val="accent4"/>
                </a:solidFill>
                <a:latin typeface="Delivery Cd Light" panose="020F0406020204020204" pitchFamily="34" charset="0"/>
                <a:ea typeface="+mn-ea"/>
                <a:cs typeface="+mn-cs"/>
              </a:defRPr>
            </a:lvl1pPr>
            <a:lvl2pPr marL="342900" indent="0" algn="ctr" defTabSz="685800" rtl="0" eaLnBrk="1" latinLnBrk="0" hangingPunct="1">
              <a:lnSpc>
                <a:spcPct val="110000"/>
              </a:lnSpc>
              <a:spcBef>
                <a:spcPts val="0"/>
              </a:spcBef>
              <a:spcAft>
                <a:spcPts val="500"/>
              </a:spcAft>
              <a:buClr>
                <a:schemeClr val="accent4"/>
              </a:buClr>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10000"/>
              </a:lnSpc>
              <a:spcBef>
                <a:spcPts val="0"/>
              </a:spcBef>
              <a:spcAft>
                <a:spcPts val="500"/>
              </a:spcAft>
              <a:buClr>
                <a:schemeClr val="accent4"/>
              </a:buClr>
              <a:buFont typeface="Symbol" panose="05050102010706020507" pitchFamily="18" charset="2"/>
              <a:buNone/>
              <a:defRPr sz="1350" kern="1200">
                <a:solidFill>
                  <a:schemeClr val="tx1"/>
                </a:solidFill>
                <a:latin typeface="+mn-lt"/>
                <a:ea typeface="+mn-ea"/>
                <a:cs typeface="+mn-cs"/>
              </a:defRPr>
            </a:lvl3pPr>
            <a:lvl4pPr marL="1028700" indent="0" algn="ctr" defTabSz="685800" rtl="0" eaLnBrk="1" latinLnBrk="0" hangingPunct="1">
              <a:lnSpc>
                <a:spcPct val="110000"/>
              </a:lnSpc>
              <a:spcBef>
                <a:spcPts val="0"/>
              </a:spcBef>
              <a:spcAft>
                <a:spcPts val="500"/>
              </a:spcAft>
              <a:buClr>
                <a:schemeClr val="accent4"/>
              </a:buClr>
              <a:buFont typeface="Symbol" panose="05050102010706020507" pitchFamily="18" charset="2"/>
              <a:buNone/>
              <a:defRPr sz="1200" kern="1200">
                <a:solidFill>
                  <a:schemeClr val="tx1"/>
                </a:solidFill>
                <a:latin typeface="+mn-lt"/>
                <a:ea typeface="+mn-ea"/>
                <a:cs typeface="+mn-cs"/>
              </a:defRPr>
            </a:lvl4pPr>
            <a:lvl5pPr marL="1371600" indent="0" algn="ctr"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2057400" indent="0" algn="ctr" defTabSz="685800" rtl="0" eaLnBrk="1" latinLnBrk="0" hangingPunct="1">
              <a:lnSpc>
                <a:spcPct val="110000"/>
              </a:lnSpc>
              <a:spcBef>
                <a:spcPts val="0"/>
              </a:spcBef>
              <a:spcAft>
                <a:spcPts val="500"/>
              </a:spcAft>
              <a:buClr>
                <a:schemeClr val="accent4"/>
              </a:buClr>
              <a:buFont typeface="+mj-lt"/>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de-DE" sz="1600" i="0" cap="none">
                <a:solidFill>
                  <a:srgbClr val="181818"/>
                </a:solidFill>
                <a:effectLst/>
                <a:latin typeface="+mn-lt"/>
              </a:rPr>
              <a:t>Guido Wübben</a:t>
            </a:r>
          </a:p>
          <a:p>
            <a:r>
              <a:rPr lang="de-DE" sz="1200" cap="none">
                <a:solidFill>
                  <a:srgbClr val="181818"/>
                </a:solidFill>
                <a:latin typeface="+mn-lt"/>
              </a:rPr>
              <a:t>Leiter Nachhaltigkeit</a:t>
            </a:r>
          </a:p>
          <a:p>
            <a:r>
              <a:rPr lang="de-DE" sz="1200" cap="none">
                <a:solidFill>
                  <a:srgbClr val="181818"/>
                </a:solidFill>
                <a:latin typeface="+mn-lt"/>
              </a:rPr>
              <a:t>Post &amp; Paket Deutschland</a:t>
            </a:r>
            <a:endParaRPr lang="de-DE" sz="1100" cap="none">
              <a:latin typeface="+mn-lt"/>
            </a:endParaRPr>
          </a:p>
        </p:txBody>
      </p:sp>
    </p:spTree>
    <p:extLst>
      <p:ext uri="{BB962C8B-B14F-4D97-AF65-F5344CB8AC3E}">
        <p14:creationId xmlns:p14="http://schemas.microsoft.com/office/powerpoint/2010/main" val="1847433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7">
            <a:extLst>
              <a:ext uri="{FF2B5EF4-FFF2-40B4-BE49-F238E27FC236}">
                <a16:creationId xmlns:a16="http://schemas.microsoft.com/office/drawing/2014/main" id="{E6445E0D-FBDB-18D9-7E0D-EBA7B5123933}"/>
              </a:ext>
            </a:extLst>
          </p:cNvPr>
          <p:cNvSpPr/>
          <p:nvPr/>
        </p:nvSpPr>
        <p:spPr>
          <a:xfrm>
            <a:off x="6072841" y="3339389"/>
            <a:ext cx="2749677" cy="934064"/>
          </a:xfrm>
          <a:prstGeom prst="rect">
            <a:avLst/>
          </a:prstGeom>
          <a:solidFill>
            <a:srgbClr val="E6E6E6"/>
          </a:solidFill>
        </p:spPr>
        <p:txBody>
          <a:bodyPr wrap="square">
            <a:noAutofit/>
          </a:bodyPr>
          <a:lstStyle/>
          <a:p>
            <a:pPr marL="137160" indent="-137160" algn="ctr">
              <a:lnSpc>
                <a:spcPct val="110000"/>
              </a:lnSpc>
              <a:spcAft>
                <a:spcPts val="500"/>
              </a:spcAft>
              <a:buClr>
                <a:schemeClr val="accent4"/>
              </a:buClr>
              <a:buFont typeface="Arial" panose="020B0604020202020204" pitchFamily="34" charset="0"/>
              <a:buChar char="•"/>
            </a:pPr>
            <a:endParaRPr lang="de-DE" altLang="de-DE" sz="800">
              <a:solidFill>
                <a:srgbClr val="000000"/>
              </a:solidFill>
              <a:latin typeface="Delivery" panose="020F0503020204020204" pitchFamily="34" charset="0"/>
              <a:ea typeface="ＭＳ Ｐゴシック" panose="020B0600070205080204" pitchFamily="34" charset="-128"/>
            </a:endParaRPr>
          </a:p>
        </p:txBody>
      </p:sp>
      <p:graphicFrame>
        <p:nvGraphicFramePr>
          <p:cNvPr id="17" name="Objekt 1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7" name="Objekt 1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2ED9D4-9982-4FA8-8ABC-95568C57FB87}"/>
              </a:ext>
            </a:extLst>
          </p:cNvPr>
          <p:cNvSpPr>
            <a:spLocks noGrp="1"/>
          </p:cNvSpPr>
          <p:nvPr>
            <p:ph type="title"/>
          </p:nvPr>
        </p:nvSpPr>
        <p:spPr>
          <a:xfrm>
            <a:off x="324000" y="385163"/>
            <a:ext cx="7624845" cy="493950"/>
          </a:xfrm>
        </p:spPr>
        <p:txBody>
          <a:bodyPr vert="horz"/>
          <a:lstStyle/>
          <a:p>
            <a:r>
              <a:rPr lang="de-DE">
                <a:solidFill>
                  <a:schemeClr val="tx1"/>
                </a:solidFill>
              </a:rPr>
              <a:t>Attraktive Werbemittel für die Kommunikation mit Ihren Empfängern</a:t>
            </a:r>
            <a:br>
              <a:rPr lang="de-DE">
                <a:solidFill>
                  <a:schemeClr val="tx1"/>
                </a:solidFill>
              </a:rPr>
            </a:br>
            <a:endParaRPr lang="en-US">
              <a:solidFill>
                <a:schemeClr val="tx1"/>
              </a:solidFill>
            </a:endParaRPr>
          </a:p>
        </p:txBody>
      </p:sp>
      <p:sp>
        <p:nvSpPr>
          <p:cNvPr id="4" name="Slide Number Placeholder 3">
            <a:extLst>
              <a:ext uri="{FF2B5EF4-FFF2-40B4-BE49-F238E27FC236}">
                <a16:creationId xmlns:a16="http://schemas.microsoft.com/office/drawing/2014/main" id="{0E369E2E-64EB-4D6D-8317-C9D17F510A12}"/>
              </a:ext>
            </a:extLst>
          </p:cNvPr>
          <p:cNvSpPr>
            <a:spLocks noGrp="1"/>
          </p:cNvSpPr>
          <p:nvPr>
            <p:ph type="sldNum" sz="quarter" idx="11"/>
          </p:nvPr>
        </p:nvSpPr>
        <p:spPr/>
        <p:txBody>
          <a:bodyPr/>
          <a:lstStyle/>
          <a:p>
            <a:fld id="{C2245BC1-4D7B-4ED3-8F01-840FA35126C6}" type="slidenum">
              <a:rPr lang="en-US" smtClean="0"/>
              <a:pPr/>
              <a:t>10</a:t>
            </a:fld>
            <a:endParaRPr lang="en-US"/>
          </a:p>
        </p:txBody>
      </p:sp>
      <p:sp>
        <p:nvSpPr>
          <p:cNvPr id="8" name="Content Placeholder 7">
            <a:extLst>
              <a:ext uri="{FF2B5EF4-FFF2-40B4-BE49-F238E27FC236}">
                <a16:creationId xmlns:a16="http://schemas.microsoft.com/office/drawing/2014/main" id="{E95345ED-FFCB-4A52-8BF0-79F86BB452AB}"/>
              </a:ext>
            </a:extLst>
          </p:cNvPr>
          <p:cNvSpPr>
            <a:spLocks noGrp="1"/>
          </p:cNvSpPr>
          <p:nvPr>
            <p:ph sz="quarter" idx="14"/>
          </p:nvPr>
        </p:nvSpPr>
        <p:spPr>
          <a:xfrm>
            <a:off x="324000" y="969633"/>
            <a:ext cx="8495999" cy="3528000"/>
          </a:xfrm>
        </p:spPr>
        <p:txBody>
          <a:bodyPr/>
          <a:lstStyle/>
          <a:p>
            <a:pPr lvl="4"/>
            <a:r>
              <a:rPr lang="de-DE" sz="1200"/>
              <a:t>GoGreen Plus lässt sich umfassend in Ihrer Kundenkommunikation einsetzen:</a:t>
            </a:r>
          </a:p>
        </p:txBody>
      </p:sp>
      <p:sp>
        <p:nvSpPr>
          <p:cNvPr id="32" name="Rectangle 20">
            <a:extLst>
              <a:ext uri="{FF2B5EF4-FFF2-40B4-BE49-F238E27FC236}">
                <a16:creationId xmlns:a16="http://schemas.microsoft.com/office/drawing/2014/main" id="{C7C0E18F-602E-44E8-A58F-78CD472AF116}"/>
              </a:ext>
            </a:extLst>
          </p:cNvPr>
          <p:cNvSpPr/>
          <p:nvPr/>
        </p:nvSpPr>
        <p:spPr>
          <a:xfrm>
            <a:off x="329871" y="1263329"/>
            <a:ext cx="2742390" cy="540000"/>
          </a:xfrm>
          <a:prstGeom prst="rect">
            <a:avLst/>
          </a:prstGeom>
          <a:solidFill>
            <a:srgbClr val="006443"/>
          </a:solidFill>
          <a:ln w="12700" cap="flat" cmpd="sng" algn="ctr">
            <a:noFill/>
            <a:prstDash val="solid"/>
            <a:miter lim="800000"/>
          </a:ln>
          <a:effectLst/>
        </p:spPr>
        <p:txBody>
          <a:bodyPr lIns="164592" tIns="109728" rIns="164592" bIns="109728" rtlCol="0" anchor="ctr" anchorCtr="0">
            <a:noAutofit/>
          </a:bodyPr>
          <a:lstStyle/>
          <a:p>
            <a:pPr algn="ctr">
              <a:lnSpc>
                <a:spcPct val="110000"/>
              </a:lnSpc>
            </a:pPr>
            <a:r>
              <a:rPr lang="de-DE" sz="1200" b="1" kern="0">
                <a:solidFill>
                  <a:schemeClr val="bg1"/>
                </a:solidFill>
                <a:latin typeface="Delivery"/>
              </a:rPr>
              <a:t>Banner für Ihre Werbung </a:t>
            </a:r>
          </a:p>
          <a:p>
            <a:pPr algn="ctr">
              <a:lnSpc>
                <a:spcPct val="110000"/>
              </a:lnSpc>
            </a:pPr>
            <a:r>
              <a:rPr lang="de-DE" sz="1200" b="1" kern="0">
                <a:solidFill>
                  <a:schemeClr val="bg1"/>
                </a:solidFill>
                <a:latin typeface="Delivery"/>
              </a:rPr>
              <a:t>(2 Alternativen)</a:t>
            </a:r>
          </a:p>
        </p:txBody>
      </p:sp>
      <p:sp>
        <p:nvSpPr>
          <p:cNvPr id="33" name="Rechteck 5">
            <a:extLst>
              <a:ext uri="{FF2B5EF4-FFF2-40B4-BE49-F238E27FC236}">
                <a16:creationId xmlns:a16="http://schemas.microsoft.com/office/drawing/2014/main" id="{F5E684F0-1091-407E-B5CC-DC8283C2C6A2}"/>
              </a:ext>
            </a:extLst>
          </p:cNvPr>
          <p:cNvSpPr/>
          <p:nvPr/>
        </p:nvSpPr>
        <p:spPr>
          <a:xfrm>
            <a:off x="329870" y="1804931"/>
            <a:ext cx="2742390" cy="934064"/>
          </a:xfrm>
          <a:prstGeom prst="rect">
            <a:avLst/>
          </a:prstGeom>
          <a:solidFill>
            <a:srgbClr val="E6E6E6"/>
          </a:solidFill>
        </p:spPr>
        <p:txBody>
          <a:bodyPr wrap="square">
            <a:noAutofit/>
          </a:bodyPr>
          <a:lstStyle/>
          <a:p>
            <a:pPr algn="ctr">
              <a:lnSpc>
                <a:spcPct val="110000"/>
              </a:lnSpc>
              <a:spcAft>
                <a:spcPts val="500"/>
              </a:spcAft>
            </a:pPr>
            <a:endParaRPr lang="de-DE" altLang="de-DE" sz="800">
              <a:solidFill>
                <a:srgbClr val="000000"/>
              </a:solidFill>
              <a:latin typeface="Delivery" panose="020F0503020204020204" pitchFamily="34" charset="0"/>
              <a:ea typeface="ＭＳ Ｐゴシック" panose="020B0600070205080204" pitchFamily="34" charset="-128"/>
            </a:endParaRPr>
          </a:p>
        </p:txBody>
      </p:sp>
      <p:sp>
        <p:nvSpPr>
          <p:cNvPr id="34" name="Rectangle 20">
            <a:extLst>
              <a:ext uri="{FF2B5EF4-FFF2-40B4-BE49-F238E27FC236}">
                <a16:creationId xmlns:a16="http://schemas.microsoft.com/office/drawing/2014/main" id="{CA0677D2-564C-4F01-8CA1-A06C9078931E}"/>
              </a:ext>
            </a:extLst>
          </p:cNvPr>
          <p:cNvSpPr/>
          <p:nvPr/>
        </p:nvSpPr>
        <p:spPr>
          <a:xfrm>
            <a:off x="3206064" y="1263593"/>
            <a:ext cx="2742390" cy="540000"/>
          </a:xfrm>
          <a:prstGeom prst="rect">
            <a:avLst/>
          </a:prstGeom>
          <a:solidFill>
            <a:srgbClr val="006443"/>
          </a:solidFill>
          <a:ln w="12700" cap="flat" cmpd="sng" algn="ctr">
            <a:noFill/>
            <a:prstDash val="solid"/>
            <a:miter lim="800000"/>
          </a:ln>
          <a:effectLst/>
        </p:spPr>
        <p:txBody>
          <a:bodyPr lIns="164592" tIns="109728" rIns="164592" bIns="109728" rtlCol="0" anchor="ctr" anchorCtr="0">
            <a:noAutofit/>
          </a:bodyPr>
          <a:lstStyle/>
          <a:p>
            <a:pPr algn="ctr"/>
            <a:r>
              <a:rPr lang="de-DE" sz="1200" b="1" kern="0">
                <a:solidFill>
                  <a:schemeClr val="bg1"/>
                </a:solidFill>
                <a:latin typeface="Delivery"/>
              </a:rPr>
              <a:t>GoGreen Plus (Insetting) Zertifikat</a:t>
            </a:r>
          </a:p>
        </p:txBody>
      </p:sp>
      <p:sp>
        <p:nvSpPr>
          <p:cNvPr id="35" name="Rechteck 7">
            <a:extLst>
              <a:ext uri="{FF2B5EF4-FFF2-40B4-BE49-F238E27FC236}">
                <a16:creationId xmlns:a16="http://schemas.microsoft.com/office/drawing/2014/main" id="{4153701F-2C16-4A36-9A13-6CCB286BCBA4}"/>
              </a:ext>
            </a:extLst>
          </p:cNvPr>
          <p:cNvSpPr/>
          <p:nvPr/>
        </p:nvSpPr>
        <p:spPr>
          <a:xfrm>
            <a:off x="3206063" y="1804931"/>
            <a:ext cx="2742390" cy="934064"/>
          </a:xfrm>
          <a:prstGeom prst="rect">
            <a:avLst/>
          </a:prstGeom>
          <a:solidFill>
            <a:srgbClr val="E6E6E6"/>
          </a:solidFill>
        </p:spPr>
        <p:txBody>
          <a:bodyPr wrap="square">
            <a:noAutofit/>
          </a:bodyPr>
          <a:lstStyle/>
          <a:p>
            <a:pPr marL="137160" indent="-137160" algn="ctr">
              <a:lnSpc>
                <a:spcPct val="110000"/>
              </a:lnSpc>
              <a:spcAft>
                <a:spcPts val="500"/>
              </a:spcAft>
              <a:buClr>
                <a:schemeClr val="accent4"/>
              </a:buClr>
              <a:buFont typeface="Arial" panose="020B0604020202020204" pitchFamily="34" charset="0"/>
              <a:buChar char="•"/>
            </a:pPr>
            <a:endParaRPr lang="de-DE" altLang="de-DE" sz="800">
              <a:solidFill>
                <a:srgbClr val="000000"/>
              </a:solidFill>
              <a:latin typeface="Delivery" panose="020F0503020204020204" pitchFamily="34" charset="0"/>
              <a:ea typeface="ＭＳ Ｐゴシック" panose="020B0600070205080204" pitchFamily="34" charset="-128"/>
            </a:endParaRPr>
          </a:p>
        </p:txBody>
      </p:sp>
      <p:sp>
        <p:nvSpPr>
          <p:cNvPr id="36" name="Rectangle 20">
            <a:extLst>
              <a:ext uri="{FF2B5EF4-FFF2-40B4-BE49-F238E27FC236}">
                <a16:creationId xmlns:a16="http://schemas.microsoft.com/office/drawing/2014/main" id="{E9995747-C802-4D82-B10A-B4A91A6B1095}"/>
              </a:ext>
            </a:extLst>
          </p:cNvPr>
          <p:cNvSpPr/>
          <p:nvPr/>
        </p:nvSpPr>
        <p:spPr>
          <a:xfrm>
            <a:off x="6082256" y="1263593"/>
            <a:ext cx="2742390" cy="540000"/>
          </a:xfrm>
          <a:prstGeom prst="rect">
            <a:avLst/>
          </a:prstGeom>
          <a:solidFill>
            <a:srgbClr val="006443"/>
          </a:solidFill>
          <a:ln w="12700" cap="flat" cmpd="sng" algn="ctr">
            <a:noFill/>
            <a:prstDash val="solid"/>
            <a:miter lim="800000"/>
          </a:ln>
          <a:effectLst/>
        </p:spPr>
        <p:txBody>
          <a:bodyPr lIns="164592" tIns="109728" rIns="164592" bIns="109728" rtlCol="0" anchor="ctr" anchorCtr="0">
            <a:noAutofit/>
          </a:bodyPr>
          <a:lstStyle/>
          <a:p>
            <a:pPr algn="ctr">
              <a:lnSpc>
                <a:spcPct val="110000"/>
              </a:lnSpc>
            </a:pPr>
            <a:r>
              <a:rPr lang="de-DE" sz="1200" b="1" kern="0">
                <a:solidFill>
                  <a:schemeClr val="bg1"/>
                </a:solidFill>
                <a:latin typeface="Delivery"/>
              </a:rPr>
              <a:t>Hinweis in der </a:t>
            </a:r>
            <a:br>
              <a:rPr lang="de-DE" sz="1200" b="1" kern="0">
                <a:solidFill>
                  <a:schemeClr val="bg1"/>
                </a:solidFill>
                <a:latin typeface="Delivery"/>
              </a:rPr>
            </a:br>
            <a:r>
              <a:rPr lang="de-DE" sz="1200" b="1" kern="0">
                <a:solidFill>
                  <a:schemeClr val="bg1"/>
                </a:solidFill>
                <a:latin typeface="Delivery"/>
              </a:rPr>
              <a:t>Paketankündigung (E-Mail)</a:t>
            </a:r>
          </a:p>
        </p:txBody>
      </p:sp>
      <p:sp>
        <p:nvSpPr>
          <p:cNvPr id="37" name="Rechteck 11">
            <a:extLst>
              <a:ext uri="{FF2B5EF4-FFF2-40B4-BE49-F238E27FC236}">
                <a16:creationId xmlns:a16="http://schemas.microsoft.com/office/drawing/2014/main" id="{283E233F-950F-4AFB-B746-641C09202785}"/>
              </a:ext>
            </a:extLst>
          </p:cNvPr>
          <p:cNvSpPr/>
          <p:nvPr/>
        </p:nvSpPr>
        <p:spPr>
          <a:xfrm>
            <a:off x="6082255" y="1804931"/>
            <a:ext cx="2742390" cy="934064"/>
          </a:xfrm>
          <a:prstGeom prst="rect">
            <a:avLst/>
          </a:prstGeom>
          <a:solidFill>
            <a:srgbClr val="E6E6E6"/>
          </a:solidFill>
        </p:spPr>
        <p:txBody>
          <a:bodyPr wrap="square">
            <a:noAutofit/>
          </a:bodyPr>
          <a:lstStyle/>
          <a:p>
            <a:pPr algn="ctr">
              <a:lnSpc>
                <a:spcPct val="110000"/>
              </a:lnSpc>
              <a:spcAft>
                <a:spcPts val="500"/>
              </a:spcAft>
            </a:pPr>
            <a:endParaRPr lang="de-DE" altLang="de-DE" sz="800"/>
          </a:p>
        </p:txBody>
      </p:sp>
      <p:sp>
        <p:nvSpPr>
          <p:cNvPr id="39" name="Rectangle 20">
            <a:extLst>
              <a:ext uri="{FF2B5EF4-FFF2-40B4-BE49-F238E27FC236}">
                <a16:creationId xmlns:a16="http://schemas.microsoft.com/office/drawing/2014/main" id="{5C7D4F8F-F489-4F3B-8A25-E27678B7BD09}"/>
              </a:ext>
            </a:extLst>
          </p:cNvPr>
          <p:cNvSpPr/>
          <p:nvPr/>
        </p:nvSpPr>
        <p:spPr>
          <a:xfrm>
            <a:off x="329871" y="2806795"/>
            <a:ext cx="2742390" cy="540000"/>
          </a:xfrm>
          <a:prstGeom prst="rect">
            <a:avLst/>
          </a:prstGeom>
          <a:solidFill>
            <a:srgbClr val="006443"/>
          </a:solidFill>
          <a:ln w="12700" cap="flat" cmpd="sng" algn="ctr">
            <a:noFill/>
            <a:prstDash val="solid"/>
            <a:miter lim="800000"/>
          </a:ln>
          <a:effectLst/>
        </p:spPr>
        <p:txBody>
          <a:bodyPr lIns="164592" tIns="109728" rIns="164592" bIns="109728" rtlCol="0" anchor="ctr" anchorCtr="0">
            <a:noAutofit/>
          </a:bodyPr>
          <a:lstStyle/>
          <a:p>
            <a:pPr algn="ctr"/>
            <a:r>
              <a:rPr lang="de-DE" sz="1200" b="1" kern="0">
                <a:solidFill>
                  <a:schemeClr val="bg1"/>
                </a:solidFill>
                <a:latin typeface="Delivery"/>
              </a:rPr>
              <a:t>Teilnahmebescheinigung &amp; Nachweis über Maßnahmen</a:t>
            </a:r>
          </a:p>
        </p:txBody>
      </p:sp>
      <p:sp>
        <p:nvSpPr>
          <p:cNvPr id="40" name="Rechteck 5">
            <a:extLst>
              <a:ext uri="{FF2B5EF4-FFF2-40B4-BE49-F238E27FC236}">
                <a16:creationId xmlns:a16="http://schemas.microsoft.com/office/drawing/2014/main" id="{7B40D4E6-4796-41BE-8977-59ED3AA2D6EA}"/>
              </a:ext>
            </a:extLst>
          </p:cNvPr>
          <p:cNvSpPr/>
          <p:nvPr/>
        </p:nvSpPr>
        <p:spPr>
          <a:xfrm>
            <a:off x="329870" y="3339389"/>
            <a:ext cx="2742390" cy="934064"/>
          </a:xfrm>
          <a:prstGeom prst="rect">
            <a:avLst/>
          </a:prstGeom>
          <a:solidFill>
            <a:srgbClr val="E6E6E6"/>
          </a:solidFill>
        </p:spPr>
        <p:txBody>
          <a:bodyPr wrap="square">
            <a:noAutofit/>
          </a:bodyPr>
          <a:lstStyle/>
          <a:p>
            <a:pPr algn="ctr">
              <a:lnSpc>
                <a:spcPct val="110000"/>
              </a:lnSpc>
              <a:spcAft>
                <a:spcPts val="500"/>
              </a:spcAft>
            </a:pPr>
            <a:endParaRPr lang="de-DE" altLang="de-DE" sz="800">
              <a:solidFill>
                <a:srgbClr val="000000"/>
              </a:solidFill>
              <a:latin typeface="Delivery" panose="020F0503020204020204" pitchFamily="34" charset="0"/>
              <a:ea typeface="ＭＳ Ｐゴシック" panose="020B0600070205080204" pitchFamily="34" charset="-128"/>
            </a:endParaRPr>
          </a:p>
        </p:txBody>
      </p:sp>
      <p:sp>
        <p:nvSpPr>
          <p:cNvPr id="41" name="Rectangle 20">
            <a:extLst>
              <a:ext uri="{FF2B5EF4-FFF2-40B4-BE49-F238E27FC236}">
                <a16:creationId xmlns:a16="http://schemas.microsoft.com/office/drawing/2014/main" id="{436FF49D-8D25-49F6-A89A-5A1C4B45C7B1}"/>
              </a:ext>
            </a:extLst>
          </p:cNvPr>
          <p:cNvSpPr/>
          <p:nvPr/>
        </p:nvSpPr>
        <p:spPr>
          <a:xfrm>
            <a:off x="6072841" y="2800591"/>
            <a:ext cx="2742390" cy="540000"/>
          </a:xfrm>
          <a:prstGeom prst="rect">
            <a:avLst/>
          </a:prstGeom>
          <a:solidFill>
            <a:srgbClr val="006443"/>
          </a:solidFill>
          <a:ln w="12700" cap="flat" cmpd="sng" algn="ctr">
            <a:noFill/>
            <a:prstDash val="solid"/>
            <a:miter lim="800000"/>
          </a:ln>
          <a:effectLst/>
        </p:spPr>
        <p:txBody>
          <a:bodyPr lIns="164592" tIns="109728" rIns="164592" bIns="109728" rtlCol="0" anchor="ctr" anchorCtr="0">
            <a:noAutofit/>
          </a:bodyPr>
          <a:lstStyle/>
          <a:p>
            <a:pPr algn="ctr"/>
            <a:r>
              <a:rPr lang="de-DE" sz="1200" b="1" kern="0">
                <a:solidFill>
                  <a:schemeClr val="bg1"/>
                </a:solidFill>
                <a:latin typeface="Delivery"/>
              </a:rPr>
              <a:t>Sendungsverfolgung</a:t>
            </a:r>
            <a:endParaRPr lang="de-DE" sz="1200" i="1" kern="0">
              <a:solidFill>
                <a:schemeClr val="bg1"/>
              </a:solidFill>
              <a:latin typeface="Delivery"/>
            </a:endParaRPr>
          </a:p>
        </p:txBody>
      </p:sp>
      <p:sp>
        <p:nvSpPr>
          <p:cNvPr id="43" name="Rectangle 20">
            <a:extLst>
              <a:ext uri="{FF2B5EF4-FFF2-40B4-BE49-F238E27FC236}">
                <a16:creationId xmlns:a16="http://schemas.microsoft.com/office/drawing/2014/main" id="{CB32DD5C-FC82-4EC4-A109-33DEA525B359}"/>
              </a:ext>
            </a:extLst>
          </p:cNvPr>
          <p:cNvSpPr/>
          <p:nvPr/>
        </p:nvSpPr>
        <p:spPr>
          <a:xfrm>
            <a:off x="3206063" y="2800591"/>
            <a:ext cx="2742390" cy="540000"/>
          </a:xfrm>
          <a:prstGeom prst="rect">
            <a:avLst/>
          </a:prstGeom>
          <a:solidFill>
            <a:srgbClr val="006443"/>
          </a:solidFill>
          <a:ln w="12700" cap="flat" cmpd="sng" algn="ctr">
            <a:noFill/>
            <a:prstDash val="solid"/>
            <a:miter lim="800000"/>
          </a:ln>
          <a:effectLst/>
        </p:spPr>
        <p:txBody>
          <a:bodyPr lIns="0" tIns="109728" rIns="0" bIns="109728" rtlCol="0" anchor="ctr" anchorCtr="0">
            <a:noAutofit/>
          </a:bodyPr>
          <a:lstStyle/>
          <a:p>
            <a:pPr algn="ctr">
              <a:lnSpc>
                <a:spcPct val="110000"/>
              </a:lnSpc>
            </a:pPr>
            <a:r>
              <a:rPr lang="de-DE" sz="1200" b="1" kern="0">
                <a:solidFill>
                  <a:schemeClr val="bg1"/>
                </a:solidFill>
                <a:latin typeface="Delivery"/>
              </a:rPr>
              <a:t>Logo Paketlabel</a:t>
            </a:r>
            <a:endParaRPr lang="de-DE" sz="1200" i="1" kern="0">
              <a:solidFill>
                <a:schemeClr val="bg1"/>
              </a:solidFill>
              <a:latin typeface="Delivery"/>
            </a:endParaRPr>
          </a:p>
        </p:txBody>
      </p:sp>
      <p:sp>
        <p:nvSpPr>
          <p:cNvPr id="44" name="Rechteck 11">
            <a:extLst>
              <a:ext uri="{FF2B5EF4-FFF2-40B4-BE49-F238E27FC236}">
                <a16:creationId xmlns:a16="http://schemas.microsoft.com/office/drawing/2014/main" id="{96BB1338-2462-4326-BA27-9E2D5D7D830E}"/>
              </a:ext>
            </a:extLst>
          </p:cNvPr>
          <p:cNvSpPr/>
          <p:nvPr/>
        </p:nvSpPr>
        <p:spPr>
          <a:xfrm>
            <a:off x="3200832" y="3339389"/>
            <a:ext cx="2742390" cy="934064"/>
          </a:xfrm>
          <a:prstGeom prst="rect">
            <a:avLst/>
          </a:prstGeom>
          <a:solidFill>
            <a:srgbClr val="E6E6E6"/>
          </a:solidFill>
        </p:spPr>
        <p:txBody>
          <a:bodyPr wrap="square">
            <a:noAutofit/>
          </a:bodyPr>
          <a:lstStyle/>
          <a:p>
            <a:pPr algn="ctr">
              <a:lnSpc>
                <a:spcPct val="110000"/>
              </a:lnSpc>
              <a:spcAft>
                <a:spcPts val="500"/>
              </a:spcAft>
            </a:pPr>
            <a:endParaRPr lang="de-DE" altLang="de-DE" sz="800"/>
          </a:p>
        </p:txBody>
      </p:sp>
      <p:sp>
        <p:nvSpPr>
          <p:cNvPr id="7" name="Fußzeilenplatzhalter 14">
            <a:extLst>
              <a:ext uri="{FF2B5EF4-FFF2-40B4-BE49-F238E27FC236}">
                <a16:creationId xmlns:a16="http://schemas.microsoft.com/office/drawing/2014/main" id="{CC9B55D9-CE2A-5528-4150-666A7274BA7C}"/>
              </a:ext>
            </a:extLst>
          </p:cNvPr>
          <p:cNvSpPr>
            <a:spLocks noGrp="1"/>
          </p:cNvSpPr>
          <p:nvPr>
            <p:ph type="ftr" sz="quarter" idx="10"/>
          </p:nvPr>
        </p:nvSpPr>
        <p:spPr>
          <a:xfrm>
            <a:off x="323999" y="4803982"/>
            <a:ext cx="8117532" cy="138499"/>
          </a:xfrm>
        </p:spPr>
        <p:txBody>
          <a:bodyPr/>
          <a:lstStyle/>
          <a:p>
            <a:r>
              <a:rPr lang="en-US"/>
              <a:t>Sustainability Summit | Hamburg | 26. </a:t>
            </a:r>
            <a:r>
              <a:rPr lang="en-US" err="1"/>
              <a:t>Juni</a:t>
            </a:r>
            <a:r>
              <a:rPr lang="en-US"/>
              <a:t> 2025</a:t>
            </a:r>
            <a:endParaRPr lang="de-DE"/>
          </a:p>
        </p:txBody>
      </p:sp>
      <p:grpSp>
        <p:nvGrpSpPr>
          <p:cNvPr id="25" name="Gruppieren 24">
            <a:extLst>
              <a:ext uri="{FF2B5EF4-FFF2-40B4-BE49-F238E27FC236}">
                <a16:creationId xmlns:a16="http://schemas.microsoft.com/office/drawing/2014/main" id="{B555DA91-9F74-2F1C-C73E-273E0CE85B49}"/>
              </a:ext>
            </a:extLst>
          </p:cNvPr>
          <p:cNvGrpSpPr/>
          <p:nvPr/>
        </p:nvGrpSpPr>
        <p:grpSpPr>
          <a:xfrm>
            <a:off x="6233141" y="1913107"/>
            <a:ext cx="2447089" cy="769173"/>
            <a:chOff x="6233141" y="2094412"/>
            <a:chExt cx="2447089" cy="769173"/>
          </a:xfrm>
        </p:grpSpPr>
        <p:pic>
          <p:nvPicPr>
            <p:cNvPr id="26" name="Grafik 25">
              <a:extLst>
                <a:ext uri="{FF2B5EF4-FFF2-40B4-BE49-F238E27FC236}">
                  <a16:creationId xmlns:a16="http://schemas.microsoft.com/office/drawing/2014/main" id="{619E0D3F-0CBD-9A5E-566F-B1DF007B5A8B}"/>
                </a:ext>
              </a:extLst>
            </p:cNvPr>
            <p:cNvPicPr>
              <a:picLocks noChangeAspect="1"/>
            </p:cNvPicPr>
            <p:nvPr/>
          </p:nvPicPr>
          <p:blipFill rotWithShape="1">
            <a:blip r:embed="rId5"/>
            <a:srcRect l="22568" t="11110" r="22640" b="58272"/>
            <a:stretch/>
          </p:blipFill>
          <p:spPr>
            <a:xfrm>
              <a:off x="6233141" y="2094412"/>
              <a:ext cx="2447089" cy="769173"/>
            </a:xfrm>
            <a:prstGeom prst="rect">
              <a:avLst/>
            </a:prstGeom>
            <a:effectLst>
              <a:outerShdw blurRad="50800" dist="38100" dir="18900000" algn="bl" rotWithShape="0">
                <a:prstClr val="black">
                  <a:alpha val="40000"/>
                </a:prstClr>
              </a:outerShdw>
            </a:effectLst>
          </p:spPr>
        </p:pic>
        <p:pic>
          <p:nvPicPr>
            <p:cNvPr id="27" name="Grafik 26">
              <a:extLst>
                <a:ext uri="{FF2B5EF4-FFF2-40B4-BE49-F238E27FC236}">
                  <a16:creationId xmlns:a16="http://schemas.microsoft.com/office/drawing/2014/main" id="{AB8A07DC-C799-0286-E69D-BD21CEF847DF}"/>
                </a:ext>
              </a:extLst>
            </p:cNvPr>
            <p:cNvPicPr>
              <a:picLocks noChangeAspect="1"/>
            </p:cNvPicPr>
            <p:nvPr/>
          </p:nvPicPr>
          <p:blipFill>
            <a:blip r:embed="rId6"/>
            <a:stretch>
              <a:fillRect/>
            </a:stretch>
          </p:blipFill>
          <p:spPr>
            <a:xfrm>
              <a:off x="8265274" y="2188874"/>
              <a:ext cx="352514" cy="120886"/>
            </a:xfrm>
            <a:prstGeom prst="rect">
              <a:avLst/>
            </a:prstGeom>
          </p:spPr>
        </p:pic>
        <p:pic>
          <p:nvPicPr>
            <p:cNvPr id="28" name="Graphic 88">
              <a:extLst>
                <a:ext uri="{FF2B5EF4-FFF2-40B4-BE49-F238E27FC236}">
                  <a16:creationId xmlns:a16="http://schemas.microsoft.com/office/drawing/2014/main" id="{301F2A05-F610-4D82-953F-1D1FAE92C5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6136" y="2210915"/>
              <a:ext cx="330790" cy="83859"/>
            </a:xfrm>
            <a:prstGeom prst="rect">
              <a:avLst/>
            </a:prstGeom>
          </p:spPr>
        </p:pic>
      </p:grpSp>
      <p:pic>
        <p:nvPicPr>
          <p:cNvPr id="29" name="Grafik 28">
            <a:extLst>
              <a:ext uri="{FF2B5EF4-FFF2-40B4-BE49-F238E27FC236}">
                <a16:creationId xmlns:a16="http://schemas.microsoft.com/office/drawing/2014/main" id="{265CBB0A-7BE4-3956-0299-931540CA9C13}"/>
              </a:ext>
            </a:extLst>
          </p:cNvPr>
          <p:cNvPicPr>
            <a:picLocks noChangeAspect="1"/>
          </p:cNvPicPr>
          <p:nvPr/>
        </p:nvPicPr>
        <p:blipFill rotWithShape="1">
          <a:blip r:embed="rId9"/>
          <a:srcRect l="215" r="816"/>
          <a:stretch/>
        </p:blipFill>
        <p:spPr>
          <a:xfrm>
            <a:off x="4399344" y="3413676"/>
            <a:ext cx="1399462" cy="797365"/>
          </a:xfrm>
          <a:prstGeom prst="rect">
            <a:avLst/>
          </a:prstGeom>
        </p:spPr>
      </p:pic>
      <p:pic>
        <p:nvPicPr>
          <p:cNvPr id="30" name="Graphic 88">
            <a:extLst>
              <a:ext uri="{FF2B5EF4-FFF2-40B4-BE49-F238E27FC236}">
                <a16:creationId xmlns:a16="http://schemas.microsoft.com/office/drawing/2014/main" id="{CEE9FEE0-5AAB-FA55-FB80-02D8FB5BF1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5126" y="3627145"/>
            <a:ext cx="979803" cy="248391"/>
          </a:xfrm>
          <a:prstGeom prst="rect">
            <a:avLst/>
          </a:prstGeom>
        </p:spPr>
      </p:pic>
      <p:pic>
        <p:nvPicPr>
          <p:cNvPr id="31" name="Grafik 30">
            <a:extLst>
              <a:ext uri="{FF2B5EF4-FFF2-40B4-BE49-F238E27FC236}">
                <a16:creationId xmlns:a16="http://schemas.microsoft.com/office/drawing/2014/main" id="{EA27E8D9-B1AD-F5E5-9F48-142BBA192919}"/>
              </a:ext>
            </a:extLst>
          </p:cNvPr>
          <p:cNvPicPr>
            <a:picLocks noChangeAspect="1"/>
          </p:cNvPicPr>
          <p:nvPr/>
        </p:nvPicPr>
        <p:blipFill>
          <a:blip r:embed="rId10"/>
          <a:stretch>
            <a:fillRect/>
          </a:stretch>
        </p:blipFill>
        <p:spPr>
          <a:xfrm>
            <a:off x="423340" y="2004485"/>
            <a:ext cx="2555451" cy="489231"/>
          </a:xfrm>
          <a:prstGeom prst="rect">
            <a:avLst/>
          </a:prstGeom>
        </p:spPr>
      </p:pic>
      <p:pic>
        <p:nvPicPr>
          <p:cNvPr id="38" name="Grafik 37">
            <a:extLst>
              <a:ext uri="{FF2B5EF4-FFF2-40B4-BE49-F238E27FC236}">
                <a16:creationId xmlns:a16="http://schemas.microsoft.com/office/drawing/2014/main" id="{A7B46ECE-D05A-0126-ACC7-214F57BE8A14}"/>
              </a:ext>
            </a:extLst>
          </p:cNvPr>
          <p:cNvPicPr>
            <a:picLocks noChangeAspect="1"/>
          </p:cNvPicPr>
          <p:nvPr/>
        </p:nvPicPr>
        <p:blipFill>
          <a:blip r:embed="rId11"/>
          <a:stretch>
            <a:fillRect/>
          </a:stretch>
        </p:blipFill>
        <p:spPr>
          <a:xfrm>
            <a:off x="4189109" y="1851113"/>
            <a:ext cx="603093" cy="851789"/>
          </a:xfrm>
          <a:prstGeom prst="rect">
            <a:avLst/>
          </a:prstGeom>
        </p:spPr>
      </p:pic>
      <p:pic>
        <p:nvPicPr>
          <p:cNvPr id="45" name="Grafik 44">
            <a:extLst>
              <a:ext uri="{FF2B5EF4-FFF2-40B4-BE49-F238E27FC236}">
                <a16:creationId xmlns:a16="http://schemas.microsoft.com/office/drawing/2014/main" id="{3C5AEE88-EBEC-C2D9-A426-AF258F20D510}"/>
              </a:ext>
            </a:extLst>
          </p:cNvPr>
          <p:cNvPicPr>
            <a:picLocks noChangeAspect="1"/>
          </p:cNvPicPr>
          <p:nvPr/>
        </p:nvPicPr>
        <p:blipFill rotWithShape="1">
          <a:blip r:embed="rId12"/>
          <a:srcRect t="835"/>
          <a:stretch/>
        </p:blipFill>
        <p:spPr>
          <a:xfrm>
            <a:off x="1397094" y="3372053"/>
            <a:ext cx="607942" cy="859387"/>
          </a:xfrm>
          <a:prstGeom prst="rect">
            <a:avLst/>
          </a:prstGeom>
        </p:spPr>
      </p:pic>
      <p:pic>
        <p:nvPicPr>
          <p:cNvPr id="5" name="Picture 2" descr="Grafik 5, Bild">
            <a:extLst>
              <a:ext uri="{FF2B5EF4-FFF2-40B4-BE49-F238E27FC236}">
                <a16:creationId xmlns:a16="http://schemas.microsoft.com/office/drawing/2014/main" id="{480C621C-CAE9-62EA-0EFA-15B27AF840C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0059" t="8471" r="32298" b="51618"/>
          <a:stretch/>
        </p:blipFill>
        <p:spPr bwMode="auto">
          <a:xfrm>
            <a:off x="6084209" y="3354456"/>
            <a:ext cx="1363995" cy="5400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a:extLst>
              <a:ext uri="{FF2B5EF4-FFF2-40B4-BE49-F238E27FC236}">
                <a16:creationId xmlns:a16="http://schemas.microsoft.com/office/drawing/2014/main" id="{1A958CAA-6648-A505-49AB-3553844553A2}"/>
              </a:ext>
            </a:extLst>
          </p:cNvPr>
          <p:cNvSpPr/>
          <p:nvPr/>
        </p:nvSpPr>
        <p:spPr>
          <a:xfrm>
            <a:off x="7107380" y="3716652"/>
            <a:ext cx="1721858" cy="540000"/>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pic>
        <p:nvPicPr>
          <p:cNvPr id="10" name="Picture 4" descr="Grafik 8, Bild">
            <a:extLst>
              <a:ext uri="{FF2B5EF4-FFF2-40B4-BE49-F238E27FC236}">
                <a16:creationId xmlns:a16="http://schemas.microsoft.com/office/drawing/2014/main" id="{C8707046-5FFB-3106-DA00-F9A0B63B0B5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5624" r="6358"/>
          <a:stretch/>
        </p:blipFill>
        <p:spPr bwMode="auto">
          <a:xfrm>
            <a:off x="7168116" y="3753066"/>
            <a:ext cx="1620000" cy="4689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314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7" name="Objekt 1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2ED9D4-9982-4FA8-8ABC-95568C57FB87}"/>
              </a:ext>
            </a:extLst>
          </p:cNvPr>
          <p:cNvSpPr>
            <a:spLocks noGrp="1"/>
          </p:cNvSpPr>
          <p:nvPr>
            <p:ph type="title"/>
          </p:nvPr>
        </p:nvSpPr>
        <p:spPr>
          <a:xfrm>
            <a:off x="324000" y="385163"/>
            <a:ext cx="7624845" cy="493950"/>
          </a:xfrm>
        </p:spPr>
        <p:txBody>
          <a:bodyPr vert="horz"/>
          <a:lstStyle/>
          <a:p>
            <a:r>
              <a:rPr lang="de-DE">
                <a:solidFill>
                  <a:schemeClr val="tx1"/>
                </a:solidFill>
              </a:rPr>
              <a:t>Schon jetzt konnten wie viele Kunden von GoGreen Plus überzeugen</a:t>
            </a:r>
            <a:br>
              <a:rPr lang="de-DE">
                <a:solidFill>
                  <a:schemeClr val="tx1"/>
                </a:solidFill>
              </a:rPr>
            </a:br>
            <a:endParaRPr lang="en-US">
              <a:solidFill>
                <a:schemeClr val="tx1"/>
              </a:solidFill>
            </a:endParaRPr>
          </a:p>
        </p:txBody>
      </p:sp>
      <p:sp>
        <p:nvSpPr>
          <p:cNvPr id="7" name="Fußzeilenplatzhalter 14">
            <a:extLst>
              <a:ext uri="{FF2B5EF4-FFF2-40B4-BE49-F238E27FC236}">
                <a16:creationId xmlns:a16="http://schemas.microsoft.com/office/drawing/2014/main" id="{CC9B55D9-CE2A-5528-4150-666A7274BA7C}"/>
              </a:ext>
            </a:extLst>
          </p:cNvPr>
          <p:cNvSpPr>
            <a:spLocks noGrp="1"/>
          </p:cNvSpPr>
          <p:nvPr>
            <p:ph type="ftr" sz="quarter" idx="10"/>
          </p:nvPr>
        </p:nvSpPr>
        <p:spPr>
          <a:xfrm>
            <a:off x="323999" y="4803982"/>
            <a:ext cx="8117532" cy="138499"/>
          </a:xfrm>
        </p:spPr>
        <p:txBody>
          <a:bodyPr/>
          <a:lstStyle/>
          <a:p>
            <a:r>
              <a:rPr lang="en-US"/>
              <a:t>Sustainability Summit | Hamburg | 26. </a:t>
            </a:r>
            <a:r>
              <a:rPr lang="en-US" err="1"/>
              <a:t>Juni</a:t>
            </a:r>
            <a:r>
              <a:rPr lang="en-US"/>
              <a:t> 2025</a:t>
            </a:r>
            <a:endParaRPr lang="de-DE"/>
          </a:p>
        </p:txBody>
      </p:sp>
      <p:sp>
        <p:nvSpPr>
          <p:cNvPr id="9" name="Rechteck 8">
            <a:extLst>
              <a:ext uri="{FF2B5EF4-FFF2-40B4-BE49-F238E27FC236}">
                <a16:creationId xmlns:a16="http://schemas.microsoft.com/office/drawing/2014/main" id="{D5D976D5-4853-7191-360F-FB7610BD5FAD}"/>
              </a:ext>
            </a:extLst>
          </p:cNvPr>
          <p:cNvSpPr/>
          <p:nvPr/>
        </p:nvSpPr>
        <p:spPr>
          <a:xfrm>
            <a:off x="136158" y="3713023"/>
            <a:ext cx="7929076" cy="957472"/>
          </a:xfrm>
          <a:prstGeom prst="rect">
            <a:avLst/>
          </a:prstGeom>
          <a:solidFill>
            <a:srgbClr val="FFF5CC">
              <a:alpha val="61000"/>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l"/>
            <a:endParaRPr lang="de-DE" sz="1200" err="1">
              <a:solidFill>
                <a:schemeClr val="tx1"/>
              </a:solidFill>
            </a:endParaRPr>
          </a:p>
        </p:txBody>
      </p:sp>
      <p:sp>
        <p:nvSpPr>
          <p:cNvPr id="10" name="Rechteck 9">
            <a:extLst>
              <a:ext uri="{FF2B5EF4-FFF2-40B4-BE49-F238E27FC236}">
                <a16:creationId xmlns:a16="http://schemas.microsoft.com/office/drawing/2014/main" id="{3DE408BC-79FF-7180-7492-D09C85AAEB2A}"/>
              </a:ext>
            </a:extLst>
          </p:cNvPr>
          <p:cNvSpPr/>
          <p:nvPr/>
        </p:nvSpPr>
        <p:spPr>
          <a:xfrm>
            <a:off x="136157" y="2583870"/>
            <a:ext cx="7929076" cy="998483"/>
          </a:xfrm>
          <a:prstGeom prst="rect">
            <a:avLst/>
          </a:prstGeom>
          <a:solidFill>
            <a:srgbClr val="FFF5CC">
              <a:alpha val="61000"/>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l"/>
            <a:endParaRPr lang="de-DE" sz="1200" err="1">
              <a:solidFill>
                <a:schemeClr val="tx1"/>
              </a:solidFill>
            </a:endParaRPr>
          </a:p>
        </p:txBody>
      </p:sp>
      <p:sp>
        <p:nvSpPr>
          <p:cNvPr id="13" name="Rechteck 12">
            <a:extLst>
              <a:ext uri="{FF2B5EF4-FFF2-40B4-BE49-F238E27FC236}">
                <a16:creationId xmlns:a16="http://schemas.microsoft.com/office/drawing/2014/main" id="{0641B714-CD98-996D-F240-8E2F7950B306}"/>
              </a:ext>
            </a:extLst>
          </p:cNvPr>
          <p:cNvSpPr/>
          <p:nvPr/>
        </p:nvSpPr>
        <p:spPr>
          <a:xfrm>
            <a:off x="114435" y="958260"/>
            <a:ext cx="7950798" cy="1368699"/>
          </a:xfrm>
          <a:prstGeom prst="rect">
            <a:avLst/>
          </a:prstGeom>
          <a:solidFill>
            <a:srgbClr val="FFF5CC">
              <a:alpha val="61000"/>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l"/>
            <a:endParaRPr lang="de-DE" sz="1200" err="1">
              <a:solidFill>
                <a:schemeClr val="tx1"/>
              </a:solidFill>
            </a:endParaRPr>
          </a:p>
        </p:txBody>
      </p:sp>
      <p:sp>
        <p:nvSpPr>
          <p:cNvPr id="14" name="Freihandform: Form 13">
            <a:extLst>
              <a:ext uri="{FF2B5EF4-FFF2-40B4-BE49-F238E27FC236}">
                <a16:creationId xmlns:a16="http://schemas.microsoft.com/office/drawing/2014/main" id="{6A8C1C8D-DA30-4270-507D-CF164B279594}"/>
              </a:ext>
            </a:extLst>
          </p:cNvPr>
          <p:cNvSpPr/>
          <p:nvPr/>
        </p:nvSpPr>
        <p:spPr>
          <a:xfrm>
            <a:off x="1079480" y="969465"/>
            <a:ext cx="6312658" cy="1344856"/>
          </a:xfrm>
          <a:custGeom>
            <a:avLst/>
            <a:gdLst>
              <a:gd name="connsiteX0" fmla="*/ 0 w 7031991"/>
              <a:gd name="connsiteY0" fmla="*/ 0 h 744522"/>
              <a:gd name="connsiteX1" fmla="*/ 7031991 w 7031991"/>
              <a:gd name="connsiteY1" fmla="*/ 0 h 744522"/>
              <a:gd name="connsiteX2" fmla="*/ 7031991 w 7031991"/>
              <a:gd name="connsiteY2" fmla="*/ 744522 h 744522"/>
              <a:gd name="connsiteX3" fmla="*/ 0 w 7031991"/>
              <a:gd name="connsiteY3" fmla="*/ 744522 h 744522"/>
              <a:gd name="connsiteX4" fmla="*/ 0 w 7031991"/>
              <a:gd name="connsiteY4" fmla="*/ 0 h 744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1991" h="744522">
                <a:moveTo>
                  <a:pt x="0" y="0"/>
                </a:moveTo>
                <a:lnTo>
                  <a:pt x="7031991" y="0"/>
                </a:lnTo>
                <a:lnTo>
                  <a:pt x="7031991" y="744522"/>
                </a:lnTo>
                <a:lnTo>
                  <a:pt x="0" y="744522"/>
                </a:lnTo>
                <a:lnTo>
                  <a:pt x="0" y="0"/>
                </a:lnTo>
                <a:close/>
              </a:path>
            </a:pathLst>
          </a:cu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685783">
              <a:defRPr/>
            </a:pPr>
            <a:r>
              <a:rPr lang="en-US" sz="1400" i="1">
                <a:solidFill>
                  <a:srgbClr val="007C39"/>
                </a:solidFill>
                <a:latin typeface="Delivery"/>
              </a:rPr>
              <a:t>"</a:t>
            </a:r>
            <a:r>
              <a:rPr lang="de-DE" sz="1400" i="1">
                <a:solidFill>
                  <a:srgbClr val="007C39"/>
                </a:solidFill>
                <a:latin typeface="Delivery"/>
              </a:rPr>
              <a:t>Durch konkrete Vermeidungs- und Verminderungsstrategien reduzieren wir bei </a:t>
            </a:r>
            <a:r>
              <a:rPr lang="de-DE" sz="1400" i="1" err="1">
                <a:solidFill>
                  <a:srgbClr val="007C39"/>
                </a:solidFill>
                <a:latin typeface="Delivery"/>
              </a:rPr>
              <a:t>dm</a:t>
            </a:r>
            <a:r>
              <a:rPr lang="de-DE" sz="1400" i="1">
                <a:solidFill>
                  <a:srgbClr val="007C39"/>
                </a:solidFill>
                <a:latin typeface="Delivery"/>
              </a:rPr>
              <a:t> unsere Umweltauswirkungen stetig. Wir freuen uns sehr, im Rahmen des Pilotprojekts "GoGreen Plus" gemeinsam mit unserem Partner DHL den nachhaltigen Paketversand voranzubringen und so im Warentransport einen wichtigen Beitrag zum Klimaschutz zu leisten.</a:t>
            </a:r>
            <a:r>
              <a:rPr lang="en-US" sz="1400" i="1">
                <a:solidFill>
                  <a:srgbClr val="007C39"/>
                </a:solidFill>
                <a:latin typeface="Delivery"/>
              </a:rPr>
              <a:t>"</a:t>
            </a:r>
            <a:endParaRPr lang="de-DE" sz="1400" i="1">
              <a:solidFill>
                <a:srgbClr val="007C39"/>
              </a:solidFill>
              <a:latin typeface="Delivery"/>
            </a:endParaRPr>
          </a:p>
        </p:txBody>
      </p:sp>
      <p:sp>
        <p:nvSpPr>
          <p:cNvPr id="42" name="Freihandform: Form 41">
            <a:extLst>
              <a:ext uri="{FF2B5EF4-FFF2-40B4-BE49-F238E27FC236}">
                <a16:creationId xmlns:a16="http://schemas.microsoft.com/office/drawing/2014/main" id="{5A42E6FE-32BA-7F8D-2D5D-2D05D5055FBF}"/>
              </a:ext>
            </a:extLst>
          </p:cNvPr>
          <p:cNvSpPr/>
          <p:nvPr/>
        </p:nvSpPr>
        <p:spPr>
          <a:xfrm>
            <a:off x="1334080" y="2645803"/>
            <a:ext cx="6497410" cy="872210"/>
          </a:xfrm>
          <a:custGeom>
            <a:avLst/>
            <a:gdLst>
              <a:gd name="connsiteX0" fmla="*/ 0 w 6193306"/>
              <a:gd name="connsiteY0" fmla="*/ 0 h 744522"/>
              <a:gd name="connsiteX1" fmla="*/ 6193306 w 6193306"/>
              <a:gd name="connsiteY1" fmla="*/ 0 h 744522"/>
              <a:gd name="connsiteX2" fmla="*/ 6193306 w 6193306"/>
              <a:gd name="connsiteY2" fmla="*/ 744522 h 744522"/>
              <a:gd name="connsiteX3" fmla="*/ 0 w 6193306"/>
              <a:gd name="connsiteY3" fmla="*/ 744522 h 744522"/>
              <a:gd name="connsiteX4" fmla="*/ 0 w 6193306"/>
              <a:gd name="connsiteY4" fmla="*/ 0 h 744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3306" h="744522">
                <a:moveTo>
                  <a:pt x="0" y="0"/>
                </a:moveTo>
                <a:lnTo>
                  <a:pt x="6193306" y="0"/>
                </a:lnTo>
                <a:lnTo>
                  <a:pt x="6193306" y="744522"/>
                </a:lnTo>
                <a:lnTo>
                  <a:pt x="0" y="744522"/>
                </a:lnTo>
                <a:lnTo>
                  <a:pt x="0" y="0"/>
                </a:lnTo>
                <a:close/>
              </a:path>
            </a:pathLst>
          </a:cu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77835">
              <a:lnSpc>
                <a:spcPct val="90000"/>
              </a:lnSpc>
              <a:spcBef>
                <a:spcPct val="0"/>
              </a:spcBef>
              <a:spcAft>
                <a:spcPct val="35000"/>
              </a:spcAft>
            </a:pPr>
            <a:r>
              <a:rPr lang="en-US" sz="1400" i="1">
                <a:solidFill>
                  <a:srgbClr val="007C39"/>
                </a:solidFill>
                <a:latin typeface="Delivery"/>
              </a:rPr>
              <a:t>"</a:t>
            </a:r>
            <a:r>
              <a:rPr lang="de-DE" sz="1400" i="1">
                <a:solidFill>
                  <a:srgbClr val="007C39"/>
                </a:solidFill>
                <a:latin typeface="Delivery"/>
              </a:rPr>
              <a:t>Wir setzen uns bei Sky bereits seit Jahren für das Thema Nachhaltigkeit ein. Deshalb ist es großartig, nun zu den Teilnehmern dieses innovativen Pilotprojekts zu gehören und gemeinsam mit DHL und GoGreen Plus Klimaneutralität weiter voranzutreiben.</a:t>
            </a:r>
            <a:r>
              <a:rPr lang="en-US" sz="1400" i="1">
                <a:solidFill>
                  <a:srgbClr val="007C39"/>
                </a:solidFill>
                <a:latin typeface="Delivery"/>
              </a:rPr>
              <a:t>"</a:t>
            </a:r>
            <a:endParaRPr lang="de-DE" sz="1400" i="1">
              <a:solidFill>
                <a:schemeClr val="tx1"/>
              </a:solidFill>
              <a:latin typeface="Delivery"/>
              <a:ea typeface="Delivery"/>
              <a:cs typeface="Delivery"/>
            </a:endParaRPr>
          </a:p>
        </p:txBody>
      </p:sp>
      <p:pic>
        <p:nvPicPr>
          <p:cNvPr id="49" name="Picture 2" descr="GoGreen Plus - die nächste Stufe des klimaneutralen Versands | DHL">
            <a:extLst>
              <a:ext uri="{FF2B5EF4-FFF2-40B4-BE49-F238E27FC236}">
                <a16:creationId xmlns:a16="http://schemas.microsoft.com/office/drawing/2014/main" id="{52D50B1A-4C0C-3417-E071-1B3B306224C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14435" y="2708047"/>
            <a:ext cx="1316580" cy="65829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a:extLst>
              <a:ext uri="{FF2B5EF4-FFF2-40B4-BE49-F238E27FC236}">
                <a16:creationId xmlns:a16="http://schemas.microsoft.com/office/drawing/2014/main" id="{A768E15A-1545-98A9-285F-7FE68FFBD24C}"/>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16755" r="16755"/>
          <a:stretch/>
        </p:blipFill>
        <p:spPr bwMode="auto">
          <a:xfrm>
            <a:off x="129057" y="1254202"/>
            <a:ext cx="1052380" cy="791377"/>
          </a:xfrm>
          <a:prstGeom prst="rect">
            <a:avLst/>
          </a:prstGeom>
          <a:noFill/>
          <a:extLst>
            <a:ext uri="{909E8E84-426E-40DD-AFC4-6F175D3DCCD1}">
              <a14:hiddenFill xmlns:a14="http://schemas.microsoft.com/office/drawing/2010/main">
                <a:solidFill>
                  <a:srgbClr val="FFFFFF"/>
                </a:solidFill>
              </a14:hiddenFill>
            </a:ext>
          </a:extLst>
        </p:spPr>
      </p:pic>
      <p:sp>
        <p:nvSpPr>
          <p:cNvPr id="51" name="Textfeld 50">
            <a:extLst>
              <a:ext uri="{FF2B5EF4-FFF2-40B4-BE49-F238E27FC236}">
                <a16:creationId xmlns:a16="http://schemas.microsoft.com/office/drawing/2014/main" id="{208FBBC3-B6CE-9305-E089-837E2C5707D7}"/>
              </a:ext>
            </a:extLst>
          </p:cNvPr>
          <p:cNvSpPr txBox="1"/>
          <p:nvPr/>
        </p:nvSpPr>
        <p:spPr>
          <a:xfrm>
            <a:off x="1078766" y="3865022"/>
            <a:ext cx="5217312" cy="646331"/>
          </a:xfrm>
          <a:prstGeom prst="rect">
            <a:avLst/>
          </a:prstGeom>
          <a:noFill/>
        </p:spPr>
        <p:txBody>
          <a:bodyPr wrap="square" lIns="0" tIns="0" rIns="0" bIns="0">
            <a:spAutoFit/>
          </a:bodyPr>
          <a:lstStyle/>
          <a:p>
            <a:pPr algn="ctr" defTabSz="685783">
              <a:defRPr/>
            </a:pPr>
            <a:r>
              <a:rPr lang="de-DE" sz="1400" i="1">
                <a:solidFill>
                  <a:srgbClr val="007C39"/>
                </a:solidFill>
                <a:latin typeface="Delivery"/>
              </a:rPr>
              <a:t>“Wir freuen uns, dass wir mit DHL einen neuen Logistikpartner mit Premium-Profil und grünem Drive an unserer Seite haben. Gemeinsam wollen wir in Sachen E-Mobilität auf die Überholspur." </a:t>
            </a:r>
          </a:p>
        </p:txBody>
      </p:sp>
      <p:pic>
        <p:nvPicPr>
          <p:cNvPr id="52" name="Grafik 51">
            <a:extLst>
              <a:ext uri="{FF2B5EF4-FFF2-40B4-BE49-F238E27FC236}">
                <a16:creationId xmlns:a16="http://schemas.microsoft.com/office/drawing/2014/main" id="{69248325-A7DA-C960-8661-B36BD11103C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279"/>
          <a:stretch/>
        </p:blipFill>
        <p:spPr>
          <a:xfrm>
            <a:off x="8205148" y="0"/>
            <a:ext cx="972681" cy="5143500"/>
          </a:xfrm>
          <a:prstGeom prst="rect">
            <a:avLst/>
          </a:prstGeom>
        </p:spPr>
      </p:pic>
      <p:pic>
        <p:nvPicPr>
          <p:cNvPr id="54" name="Grafik 53" descr="Ein Bild, das Text, Symbol, Logo, Schrift enthält.&#10;&#10;KI-generierte Inhalte können fehlerhaft sein.">
            <a:extLst>
              <a:ext uri="{FF2B5EF4-FFF2-40B4-BE49-F238E27FC236}">
                <a16:creationId xmlns:a16="http://schemas.microsoft.com/office/drawing/2014/main" id="{89F61ED4-9784-2000-9F4D-37632079C96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088008" y="3908866"/>
            <a:ext cx="462369" cy="588943"/>
          </a:xfrm>
          <a:prstGeom prst="rect">
            <a:avLst/>
          </a:prstGeom>
        </p:spPr>
      </p:pic>
      <p:pic>
        <p:nvPicPr>
          <p:cNvPr id="56" name="Grafik 55">
            <a:hlinkClick r:id="rId9"/>
            <a:extLst>
              <a:ext uri="{FF2B5EF4-FFF2-40B4-BE49-F238E27FC236}">
                <a16:creationId xmlns:a16="http://schemas.microsoft.com/office/drawing/2014/main" id="{D7A27CBF-6135-A27A-D4F8-8623B908FAE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2615" y="1074956"/>
            <a:ext cx="1556950" cy="1098559"/>
          </a:xfrm>
          <a:prstGeom prst="rect">
            <a:avLst/>
          </a:prstGeom>
        </p:spPr>
      </p:pic>
      <p:sp>
        <p:nvSpPr>
          <p:cNvPr id="4" name="Slide Number Placeholder 3">
            <a:extLst>
              <a:ext uri="{FF2B5EF4-FFF2-40B4-BE49-F238E27FC236}">
                <a16:creationId xmlns:a16="http://schemas.microsoft.com/office/drawing/2014/main" id="{0E369E2E-64EB-4D6D-8317-C9D17F510A12}"/>
              </a:ext>
            </a:extLst>
          </p:cNvPr>
          <p:cNvSpPr>
            <a:spLocks noGrp="1"/>
          </p:cNvSpPr>
          <p:nvPr>
            <p:ph type="sldNum" sz="quarter" idx="11"/>
          </p:nvPr>
        </p:nvSpPr>
        <p:spPr/>
        <p:txBody>
          <a:bodyPr/>
          <a:lstStyle/>
          <a:p>
            <a:fld id="{C2245BC1-4D7B-4ED3-8F01-840FA35126C6}" type="slidenum">
              <a:rPr lang="en-US" smtClean="0"/>
              <a:pPr/>
              <a:t>11</a:t>
            </a:fld>
            <a:endParaRPr lang="en-US"/>
          </a:p>
        </p:txBody>
      </p:sp>
    </p:spTree>
    <p:extLst>
      <p:ext uri="{BB962C8B-B14F-4D97-AF65-F5344CB8AC3E}">
        <p14:creationId xmlns:p14="http://schemas.microsoft.com/office/powerpoint/2010/main" val="35598040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a:extLst>
              <a:ext uri="{FF2B5EF4-FFF2-40B4-BE49-F238E27FC236}">
                <a16:creationId xmlns:a16="http://schemas.microsoft.com/office/drawing/2014/main" id="{9F1A4C18-E17D-479C-F748-39BB287FFFFE}"/>
              </a:ext>
            </a:extLst>
          </p:cNvPr>
          <p:cNvSpPr/>
          <p:nvPr/>
        </p:nvSpPr>
        <p:spPr>
          <a:xfrm>
            <a:off x="3107115" y="-561198"/>
            <a:ext cx="6036885" cy="6076471"/>
          </a:xfrm>
          <a:custGeom>
            <a:avLst/>
            <a:gdLst>
              <a:gd name="connsiteX0" fmla="*/ 717527 w 925364"/>
              <a:gd name="connsiteY0" fmla="*/ 130014 h 925364"/>
              <a:gd name="connsiteX1" fmla="*/ 462682 w 925364"/>
              <a:gd name="connsiteY1" fmla="*/ 0 h 925364"/>
              <a:gd name="connsiteX2" fmla="*/ 207837 w 925364"/>
              <a:gd name="connsiteY2" fmla="*/ 130014 h 925364"/>
              <a:gd name="connsiteX3" fmla="*/ 130014 w 925364"/>
              <a:gd name="connsiteY3" fmla="*/ 207837 h 925364"/>
              <a:gd name="connsiteX4" fmla="*/ 0 w 925364"/>
              <a:gd name="connsiteY4" fmla="*/ 462682 h 925364"/>
              <a:gd name="connsiteX5" fmla="*/ 130014 w 925364"/>
              <a:gd name="connsiteY5" fmla="*/ 717527 h 925364"/>
              <a:gd name="connsiteX6" fmla="*/ 207837 w 925364"/>
              <a:gd name="connsiteY6" fmla="*/ 795350 h 925364"/>
              <a:gd name="connsiteX7" fmla="*/ 462682 w 925364"/>
              <a:gd name="connsiteY7" fmla="*/ 925364 h 925364"/>
              <a:gd name="connsiteX8" fmla="*/ 717527 w 925364"/>
              <a:gd name="connsiteY8" fmla="*/ 795350 h 925364"/>
              <a:gd name="connsiteX9" fmla="*/ 795350 w 925364"/>
              <a:gd name="connsiteY9" fmla="*/ 717527 h 925364"/>
              <a:gd name="connsiteX10" fmla="*/ 925364 w 925364"/>
              <a:gd name="connsiteY10" fmla="*/ 462682 h 925364"/>
              <a:gd name="connsiteX11" fmla="*/ 795350 w 925364"/>
              <a:gd name="connsiteY11" fmla="*/ 207837 h 925364"/>
              <a:gd name="connsiteX12" fmla="*/ 717527 w 925364"/>
              <a:gd name="connsiteY12" fmla="*/ 130014 h 925364"/>
              <a:gd name="connsiteX13" fmla="*/ 717527 w 925364"/>
              <a:gd name="connsiteY13" fmla="*/ 130014 h 92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5364" h="925364">
                <a:moveTo>
                  <a:pt x="717527" y="130014"/>
                </a:moveTo>
                <a:cubicBezTo>
                  <a:pt x="617218" y="29704"/>
                  <a:pt x="539765" y="0"/>
                  <a:pt x="462682" y="0"/>
                </a:cubicBezTo>
                <a:cubicBezTo>
                  <a:pt x="385599" y="0"/>
                  <a:pt x="307961" y="29889"/>
                  <a:pt x="207837" y="130014"/>
                </a:cubicBezTo>
                <a:lnTo>
                  <a:pt x="130014" y="207837"/>
                </a:lnTo>
                <a:cubicBezTo>
                  <a:pt x="29704" y="308146"/>
                  <a:pt x="0" y="385599"/>
                  <a:pt x="0" y="462682"/>
                </a:cubicBezTo>
                <a:cubicBezTo>
                  <a:pt x="0" y="539765"/>
                  <a:pt x="29889" y="617403"/>
                  <a:pt x="130014" y="717527"/>
                </a:cubicBezTo>
                <a:lnTo>
                  <a:pt x="207837" y="795350"/>
                </a:lnTo>
                <a:cubicBezTo>
                  <a:pt x="308146" y="895660"/>
                  <a:pt x="385599" y="925364"/>
                  <a:pt x="462682" y="925364"/>
                </a:cubicBezTo>
                <a:cubicBezTo>
                  <a:pt x="539765" y="925364"/>
                  <a:pt x="617403" y="895475"/>
                  <a:pt x="717527" y="795350"/>
                </a:cubicBezTo>
                <a:lnTo>
                  <a:pt x="795350" y="717527"/>
                </a:lnTo>
                <a:cubicBezTo>
                  <a:pt x="895660" y="617218"/>
                  <a:pt x="925364" y="539765"/>
                  <a:pt x="925364" y="462682"/>
                </a:cubicBezTo>
                <a:cubicBezTo>
                  <a:pt x="925364" y="385599"/>
                  <a:pt x="895475" y="307961"/>
                  <a:pt x="795350" y="207837"/>
                </a:cubicBezTo>
                <a:lnTo>
                  <a:pt x="717527" y="130014"/>
                </a:lnTo>
                <a:lnTo>
                  <a:pt x="717527" y="130014"/>
                </a:lnTo>
                <a:close/>
              </a:path>
            </a:pathLst>
          </a:custGeom>
          <a:solidFill>
            <a:srgbClr val="FFFFFF">
              <a:alpha val="14902"/>
            </a:srgbClr>
          </a:solidFill>
          <a:ln w="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4A8468D0-CE61-6774-C7DB-786766170B40}"/>
              </a:ext>
            </a:extLst>
          </p:cNvPr>
          <p:cNvSpPr/>
          <p:nvPr/>
        </p:nvSpPr>
        <p:spPr>
          <a:xfrm>
            <a:off x="3716835" y="52521"/>
            <a:ext cx="4817432" cy="4849020"/>
          </a:xfrm>
          <a:custGeom>
            <a:avLst/>
            <a:gdLst>
              <a:gd name="connsiteX0" fmla="*/ 572615 w 738440"/>
              <a:gd name="connsiteY0" fmla="*/ 103733 h 738440"/>
              <a:gd name="connsiteX1" fmla="*/ 369220 w 738440"/>
              <a:gd name="connsiteY1" fmla="*/ 0 h 738440"/>
              <a:gd name="connsiteX2" fmla="*/ 165825 w 738440"/>
              <a:gd name="connsiteY2" fmla="*/ 103733 h 738440"/>
              <a:gd name="connsiteX3" fmla="*/ 103733 w 738440"/>
              <a:gd name="connsiteY3" fmla="*/ 165825 h 738440"/>
              <a:gd name="connsiteX4" fmla="*/ 0 w 738440"/>
              <a:gd name="connsiteY4" fmla="*/ 369220 h 738440"/>
              <a:gd name="connsiteX5" fmla="*/ 103733 w 738440"/>
              <a:gd name="connsiteY5" fmla="*/ 572615 h 738440"/>
              <a:gd name="connsiteX6" fmla="*/ 165825 w 738440"/>
              <a:gd name="connsiteY6" fmla="*/ 634707 h 738440"/>
              <a:gd name="connsiteX7" fmla="*/ 369220 w 738440"/>
              <a:gd name="connsiteY7" fmla="*/ 738441 h 738440"/>
              <a:gd name="connsiteX8" fmla="*/ 572615 w 738440"/>
              <a:gd name="connsiteY8" fmla="*/ 634707 h 738440"/>
              <a:gd name="connsiteX9" fmla="*/ 634707 w 738440"/>
              <a:gd name="connsiteY9" fmla="*/ 572615 h 738440"/>
              <a:gd name="connsiteX10" fmla="*/ 738441 w 738440"/>
              <a:gd name="connsiteY10" fmla="*/ 369220 h 738440"/>
              <a:gd name="connsiteX11" fmla="*/ 634707 w 738440"/>
              <a:gd name="connsiteY11" fmla="*/ 165825 h 738440"/>
              <a:gd name="connsiteX12" fmla="*/ 572615 w 738440"/>
              <a:gd name="connsiteY12" fmla="*/ 103733 h 738440"/>
              <a:gd name="connsiteX13" fmla="*/ 572615 w 738440"/>
              <a:gd name="connsiteY13" fmla="*/ 103733 h 73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8440" h="738440">
                <a:moveTo>
                  <a:pt x="572615" y="103733"/>
                </a:moveTo>
                <a:cubicBezTo>
                  <a:pt x="492571" y="23689"/>
                  <a:pt x="430757" y="0"/>
                  <a:pt x="369220" y="0"/>
                </a:cubicBezTo>
                <a:cubicBezTo>
                  <a:pt x="307684" y="0"/>
                  <a:pt x="245777" y="23874"/>
                  <a:pt x="165825" y="103733"/>
                </a:cubicBezTo>
                <a:lnTo>
                  <a:pt x="103733" y="165825"/>
                </a:lnTo>
                <a:cubicBezTo>
                  <a:pt x="23689" y="245869"/>
                  <a:pt x="0" y="307684"/>
                  <a:pt x="0" y="369220"/>
                </a:cubicBezTo>
                <a:cubicBezTo>
                  <a:pt x="0" y="430757"/>
                  <a:pt x="23874" y="492664"/>
                  <a:pt x="103733" y="572615"/>
                </a:cubicBezTo>
                <a:lnTo>
                  <a:pt x="165825" y="634707"/>
                </a:lnTo>
                <a:cubicBezTo>
                  <a:pt x="245869" y="714751"/>
                  <a:pt x="307684" y="738441"/>
                  <a:pt x="369220" y="738441"/>
                </a:cubicBezTo>
                <a:cubicBezTo>
                  <a:pt x="430757" y="738441"/>
                  <a:pt x="492664" y="714566"/>
                  <a:pt x="572615" y="634707"/>
                </a:cubicBezTo>
                <a:lnTo>
                  <a:pt x="634707" y="572615"/>
                </a:lnTo>
                <a:cubicBezTo>
                  <a:pt x="714751" y="492571"/>
                  <a:pt x="738441" y="430757"/>
                  <a:pt x="738441" y="369220"/>
                </a:cubicBezTo>
                <a:cubicBezTo>
                  <a:pt x="738441" y="307684"/>
                  <a:pt x="714566" y="245777"/>
                  <a:pt x="634707" y="165825"/>
                </a:cubicBezTo>
                <a:lnTo>
                  <a:pt x="572615" y="103733"/>
                </a:lnTo>
                <a:lnTo>
                  <a:pt x="572615" y="103733"/>
                </a:lnTo>
                <a:close/>
              </a:path>
            </a:pathLst>
          </a:custGeom>
          <a:solidFill>
            <a:srgbClr val="FFFFFF">
              <a:alpha val="20000"/>
            </a:srgbClr>
          </a:solidFill>
          <a:ln w="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72F671F9-0555-90D8-AC6D-B9EB3DB9A8E6}"/>
              </a:ext>
            </a:extLst>
          </p:cNvPr>
          <p:cNvSpPr/>
          <p:nvPr/>
        </p:nvSpPr>
        <p:spPr>
          <a:xfrm>
            <a:off x="4204618" y="543501"/>
            <a:ext cx="3841872" cy="3867060"/>
          </a:xfrm>
          <a:custGeom>
            <a:avLst/>
            <a:gdLst>
              <a:gd name="connsiteX0" fmla="*/ 456667 w 588901"/>
              <a:gd name="connsiteY0" fmla="*/ 82728 h 588901"/>
              <a:gd name="connsiteX1" fmla="*/ 294451 w 588901"/>
              <a:gd name="connsiteY1" fmla="*/ 0 h 588901"/>
              <a:gd name="connsiteX2" fmla="*/ 132235 w 588901"/>
              <a:gd name="connsiteY2" fmla="*/ 82728 h 588901"/>
              <a:gd name="connsiteX3" fmla="*/ 82728 w 588901"/>
              <a:gd name="connsiteY3" fmla="*/ 132235 h 588901"/>
              <a:gd name="connsiteX4" fmla="*/ 0 w 588901"/>
              <a:gd name="connsiteY4" fmla="*/ 294451 h 588901"/>
              <a:gd name="connsiteX5" fmla="*/ 82728 w 588901"/>
              <a:gd name="connsiteY5" fmla="*/ 456667 h 588901"/>
              <a:gd name="connsiteX6" fmla="*/ 132235 w 588901"/>
              <a:gd name="connsiteY6" fmla="*/ 506174 h 588901"/>
              <a:gd name="connsiteX7" fmla="*/ 294451 w 588901"/>
              <a:gd name="connsiteY7" fmla="*/ 588902 h 588901"/>
              <a:gd name="connsiteX8" fmla="*/ 456667 w 588901"/>
              <a:gd name="connsiteY8" fmla="*/ 506174 h 588901"/>
              <a:gd name="connsiteX9" fmla="*/ 506174 w 588901"/>
              <a:gd name="connsiteY9" fmla="*/ 456667 h 588901"/>
              <a:gd name="connsiteX10" fmla="*/ 588902 w 588901"/>
              <a:gd name="connsiteY10" fmla="*/ 294451 h 588901"/>
              <a:gd name="connsiteX11" fmla="*/ 506174 w 588901"/>
              <a:gd name="connsiteY11" fmla="*/ 132235 h 588901"/>
              <a:gd name="connsiteX12" fmla="*/ 456667 w 588901"/>
              <a:gd name="connsiteY12" fmla="*/ 82728 h 588901"/>
              <a:gd name="connsiteX13" fmla="*/ 456667 w 588901"/>
              <a:gd name="connsiteY13" fmla="*/ 82728 h 5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901" h="588901">
                <a:moveTo>
                  <a:pt x="456667" y="82728"/>
                </a:moveTo>
                <a:cubicBezTo>
                  <a:pt x="392817" y="18877"/>
                  <a:pt x="343495" y="0"/>
                  <a:pt x="294451" y="0"/>
                </a:cubicBezTo>
                <a:cubicBezTo>
                  <a:pt x="245407" y="0"/>
                  <a:pt x="195992" y="19062"/>
                  <a:pt x="132235" y="82728"/>
                </a:cubicBezTo>
                <a:lnTo>
                  <a:pt x="82728" y="132235"/>
                </a:lnTo>
                <a:cubicBezTo>
                  <a:pt x="18877" y="196085"/>
                  <a:pt x="0" y="245407"/>
                  <a:pt x="0" y="294451"/>
                </a:cubicBezTo>
                <a:cubicBezTo>
                  <a:pt x="0" y="343495"/>
                  <a:pt x="19062" y="392910"/>
                  <a:pt x="82728" y="456667"/>
                </a:cubicBezTo>
                <a:lnTo>
                  <a:pt x="132235" y="506174"/>
                </a:lnTo>
                <a:cubicBezTo>
                  <a:pt x="196085" y="570024"/>
                  <a:pt x="245407" y="588902"/>
                  <a:pt x="294451" y="588902"/>
                </a:cubicBezTo>
                <a:cubicBezTo>
                  <a:pt x="343495" y="588902"/>
                  <a:pt x="392910" y="569839"/>
                  <a:pt x="456667" y="506174"/>
                </a:cubicBezTo>
                <a:lnTo>
                  <a:pt x="506174" y="456667"/>
                </a:lnTo>
                <a:cubicBezTo>
                  <a:pt x="570024" y="392817"/>
                  <a:pt x="588902" y="343495"/>
                  <a:pt x="588902" y="294451"/>
                </a:cubicBezTo>
                <a:cubicBezTo>
                  <a:pt x="588902" y="245407"/>
                  <a:pt x="569839" y="195992"/>
                  <a:pt x="506174" y="132235"/>
                </a:cubicBezTo>
                <a:lnTo>
                  <a:pt x="456667" y="82728"/>
                </a:lnTo>
                <a:lnTo>
                  <a:pt x="456667" y="82728"/>
                </a:lnTo>
                <a:close/>
              </a:path>
            </a:pathLst>
          </a:custGeom>
          <a:solidFill>
            <a:srgbClr val="FFFFFF">
              <a:alpha val="29804"/>
            </a:srgbClr>
          </a:solidFill>
          <a:ln w="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0C01B422-5BB0-E9C4-4D60-68035339AA82}"/>
              </a:ext>
            </a:extLst>
          </p:cNvPr>
          <p:cNvSpPr/>
          <p:nvPr/>
        </p:nvSpPr>
        <p:spPr>
          <a:xfrm>
            <a:off x="4531812" y="872841"/>
            <a:ext cx="3187477" cy="3208379"/>
          </a:xfrm>
          <a:custGeom>
            <a:avLst/>
            <a:gdLst>
              <a:gd name="connsiteX0" fmla="*/ 378844 w 488592"/>
              <a:gd name="connsiteY0" fmla="*/ 68662 h 488592"/>
              <a:gd name="connsiteX1" fmla="*/ 244296 w 488592"/>
              <a:gd name="connsiteY1" fmla="*/ 0 h 488592"/>
              <a:gd name="connsiteX2" fmla="*/ 109748 w 488592"/>
              <a:gd name="connsiteY2" fmla="*/ 68662 h 488592"/>
              <a:gd name="connsiteX3" fmla="*/ 68662 w 488592"/>
              <a:gd name="connsiteY3" fmla="*/ 109748 h 488592"/>
              <a:gd name="connsiteX4" fmla="*/ 0 w 488592"/>
              <a:gd name="connsiteY4" fmla="*/ 244296 h 488592"/>
              <a:gd name="connsiteX5" fmla="*/ 68662 w 488592"/>
              <a:gd name="connsiteY5" fmla="*/ 378844 h 488592"/>
              <a:gd name="connsiteX6" fmla="*/ 109748 w 488592"/>
              <a:gd name="connsiteY6" fmla="*/ 419930 h 488592"/>
              <a:gd name="connsiteX7" fmla="*/ 244296 w 488592"/>
              <a:gd name="connsiteY7" fmla="*/ 488592 h 488592"/>
              <a:gd name="connsiteX8" fmla="*/ 378844 w 488592"/>
              <a:gd name="connsiteY8" fmla="*/ 419930 h 488592"/>
              <a:gd name="connsiteX9" fmla="*/ 419930 w 488592"/>
              <a:gd name="connsiteY9" fmla="*/ 378844 h 488592"/>
              <a:gd name="connsiteX10" fmla="*/ 488592 w 488592"/>
              <a:gd name="connsiteY10" fmla="*/ 244296 h 488592"/>
              <a:gd name="connsiteX11" fmla="*/ 419930 w 488592"/>
              <a:gd name="connsiteY11" fmla="*/ 109748 h 488592"/>
              <a:gd name="connsiteX12" fmla="*/ 378844 w 488592"/>
              <a:gd name="connsiteY12" fmla="*/ 68662 h 488592"/>
              <a:gd name="connsiteX13" fmla="*/ 378844 w 488592"/>
              <a:gd name="connsiteY13" fmla="*/ 68662 h 4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8592" h="488592">
                <a:moveTo>
                  <a:pt x="378844" y="68662"/>
                </a:moveTo>
                <a:cubicBezTo>
                  <a:pt x="325821" y="15639"/>
                  <a:pt x="285012" y="0"/>
                  <a:pt x="244296" y="0"/>
                </a:cubicBezTo>
                <a:cubicBezTo>
                  <a:pt x="203580" y="0"/>
                  <a:pt x="162586" y="15824"/>
                  <a:pt x="109748" y="68662"/>
                </a:cubicBezTo>
                <a:lnTo>
                  <a:pt x="68662" y="109748"/>
                </a:lnTo>
                <a:cubicBezTo>
                  <a:pt x="15639" y="162772"/>
                  <a:pt x="0" y="203580"/>
                  <a:pt x="0" y="244296"/>
                </a:cubicBezTo>
                <a:cubicBezTo>
                  <a:pt x="0" y="285012"/>
                  <a:pt x="15824" y="326006"/>
                  <a:pt x="68662" y="378844"/>
                </a:cubicBezTo>
                <a:lnTo>
                  <a:pt x="109748" y="419930"/>
                </a:lnTo>
                <a:cubicBezTo>
                  <a:pt x="162772" y="472954"/>
                  <a:pt x="203580" y="488592"/>
                  <a:pt x="244296" y="488592"/>
                </a:cubicBezTo>
                <a:cubicBezTo>
                  <a:pt x="285012" y="488592"/>
                  <a:pt x="326006" y="472769"/>
                  <a:pt x="378844" y="419930"/>
                </a:cubicBezTo>
                <a:lnTo>
                  <a:pt x="419930" y="378844"/>
                </a:lnTo>
                <a:cubicBezTo>
                  <a:pt x="472954" y="325821"/>
                  <a:pt x="488592" y="285012"/>
                  <a:pt x="488592" y="244296"/>
                </a:cubicBezTo>
                <a:cubicBezTo>
                  <a:pt x="488592" y="203580"/>
                  <a:pt x="472769" y="162586"/>
                  <a:pt x="419930" y="109748"/>
                </a:cubicBezTo>
                <a:lnTo>
                  <a:pt x="378844" y="68662"/>
                </a:lnTo>
                <a:lnTo>
                  <a:pt x="378844" y="68662"/>
                </a:lnTo>
                <a:close/>
              </a:path>
            </a:pathLst>
          </a:custGeom>
          <a:solidFill>
            <a:srgbClr val="FFFFFF">
              <a:alpha val="29804"/>
            </a:srgbClr>
          </a:solidFill>
          <a:ln w="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BB46C58F-7A6D-C886-6BF8-8D4FC5B6C160}"/>
              </a:ext>
            </a:extLst>
          </p:cNvPr>
          <p:cNvSpPr/>
          <p:nvPr/>
        </p:nvSpPr>
        <p:spPr>
          <a:xfrm>
            <a:off x="4797435" y="1140206"/>
            <a:ext cx="2656232" cy="2673650"/>
          </a:xfrm>
          <a:custGeom>
            <a:avLst/>
            <a:gdLst>
              <a:gd name="connsiteX0" fmla="*/ 315734 w 407160"/>
              <a:gd name="connsiteY0" fmla="*/ 57187 h 407160"/>
              <a:gd name="connsiteX1" fmla="*/ 203580 w 407160"/>
              <a:gd name="connsiteY1" fmla="*/ 0 h 407160"/>
              <a:gd name="connsiteX2" fmla="*/ 91426 w 407160"/>
              <a:gd name="connsiteY2" fmla="*/ 57187 h 407160"/>
              <a:gd name="connsiteX3" fmla="*/ 57187 w 407160"/>
              <a:gd name="connsiteY3" fmla="*/ 91426 h 407160"/>
              <a:gd name="connsiteX4" fmla="*/ 0 w 407160"/>
              <a:gd name="connsiteY4" fmla="*/ 203580 h 407160"/>
              <a:gd name="connsiteX5" fmla="*/ 57187 w 407160"/>
              <a:gd name="connsiteY5" fmla="*/ 315734 h 407160"/>
              <a:gd name="connsiteX6" fmla="*/ 91426 w 407160"/>
              <a:gd name="connsiteY6" fmla="*/ 349973 h 407160"/>
              <a:gd name="connsiteX7" fmla="*/ 203580 w 407160"/>
              <a:gd name="connsiteY7" fmla="*/ 407160 h 407160"/>
              <a:gd name="connsiteX8" fmla="*/ 315734 w 407160"/>
              <a:gd name="connsiteY8" fmla="*/ 349973 h 407160"/>
              <a:gd name="connsiteX9" fmla="*/ 349973 w 407160"/>
              <a:gd name="connsiteY9" fmla="*/ 315734 h 407160"/>
              <a:gd name="connsiteX10" fmla="*/ 407160 w 407160"/>
              <a:gd name="connsiteY10" fmla="*/ 203580 h 407160"/>
              <a:gd name="connsiteX11" fmla="*/ 349973 w 407160"/>
              <a:gd name="connsiteY11" fmla="*/ 91426 h 407160"/>
              <a:gd name="connsiteX12" fmla="*/ 315734 w 407160"/>
              <a:gd name="connsiteY12" fmla="*/ 57187 h 407160"/>
              <a:gd name="connsiteX13" fmla="*/ 315734 w 407160"/>
              <a:gd name="connsiteY13" fmla="*/ 57187 h 40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7160" h="407160">
                <a:moveTo>
                  <a:pt x="315734" y="57187"/>
                </a:moveTo>
                <a:cubicBezTo>
                  <a:pt x="271594" y="13048"/>
                  <a:pt x="237541" y="0"/>
                  <a:pt x="203580" y="0"/>
                </a:cubicBezTo>
                <a:cubicBezTo>
                  <a:pt x="169619" y="0"/>
                  <a:pt x="135473" y="13140"/>
                  <a:pt x="91426" y="57187"/>
                </a:cubicBezTo>
                <a:lnTo>
                  <a:pt x="57187" y="91426"/>
                </a:lnTo>
                <a:cubicBezTo>
                  <a:pt x="13048" y="135566"/>
                  <a:pt x="0" y="169619"/>
                  <a:pt x="0" y="203580"/>
                </a:cubicBezTo>
                <a:cubicBezTo>
                  <a:pt x="0" y="237541"/>
                  <a:pt x="13140" y="271687"/>
                  <a:pt x="57187" y="315734"/>
                </a:cubicBezTo>
                <a:lnTo>
                  <a:pt x="91426" y="349973"/>
                </a:lnTo>
                <a:cubicBezTo>
                  <a:pt x="135566" y="394113"/>
                  <a:pt x="169619" y="407160"/>
                  <a:pt x="203580" y="407160"/>
                </a:cubicBezTo>
                <a:cubicBezTo>
                  <a:pt x="237541" y="407160"/>
                  <a:pt x="271687" y="394020"/>
                  <a:pt x="315734" y="349973"/>
                </a:cubicBezTo>
                <a:lnTo>
                  <a:pt x="349973" y="315734"/>
                </a:lnTo>
                <a:cubicBezTo>
                  <a:pt x="394113" y="271594"/>
                  <a:pt x="407160" y="237541"/>
                  <a:pt x="407160" y="203580"/>
                </a:cubicBezTo>
                <a:cubicBezTo>
                  <a:pt x="407160" y="169619"/>
                  <a:pt x="394020" y="135473"/>
                  <a:pt x="349973" y="91426"/>
                </a:cubicBezTo>
                <a:lnTo>
                  <a:pt x="315734" y="57187"/>
                </a:lnTo>
                <a:lnTo>
                  <a:pt x="315734" y="57187"/>
                </a:lnTo>
                <a:close/>
              </a:path>
            </a:pathLst>
          </a:custGeom>
          <a:solidFill>
            <a:srgbClr val="FFFFFF">
              <a:alpha val="40000"/>
            </a:srgbClr>
          </a:solidFill>
          <a:ln w="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1E13897D-5ED0-7D89-86C1-22CEB4DF15FE}"/>
              </a:ext>
            </a:extLst>
          </p:cNvPr>
          <p:cNvSpPr/>
          <p:nvPr/>
        </p:nvSpPr>
        <p:spPr>
          <a:xfrm>
            <a:off x="5020803" y="1365042"/>
            <a:ext cx="2209496" cy="2223985"/>
          </a:xfrm>
          <a:custGeom>
            <a:avLst/>
            <a:gdLst>
              <a:gd name="connsiteX0" fmla="*/ 169342 w 338683"/>
              <a:gd name="connsiteY0" fmla="*/ 338683 h 338683"/>
              <a:gd name="connsiteX1" fmla="*/ 81432 w 338683"/>
              <a:gd name="connsiteY1" fmla="*/ 291490 h 338683"/>
              <a:gd name="connsiteX2" fmla="*/ 47194 w 338683"/>
              <a:gd name="connsiteY2" fmla="*/ 257251 h 338683"/>
              <a:gd name="connsiteX3" fmla="*/ 0 w 338683"/>
              <a:gd name="connsiteY3" fmla="*/ 169342 h 338683"/>
              <a:gd name="connsiteX4" fmla="*/ 47194 w 338683"/>
              <a:gd name="connsiteY4" fmla="*/ 81432 h 338683"/>
              <a:gd name="connsiteX5" fmla="*/ 81432 w 338683"/>
              <a:gd name="connsiteY5" fmla="*/ 47194 h 338683"/>
              <a:gd name="connsiteX6" fmla="*/ 169342 w 338683"/>
              <a:gd name="connsiteY6" fmla="*/ 0 h 338683"/>
              <a:gd name="connsiteX7" fmla="*/ 169342 w 338683"/>
              <a:gd name="connsiteY7" fmla="*/ 0 h 338683"/>
              <a:gd name="connsiteX8" fmla="*/ 257251 w 338683"/>
              <a:gd name="connsiteY8" fmla="*/ 47194 h 338683"/>
              <a:gd name="connsiteX9" fmla="*/ 291490 w 338683"/>
              <a:gd name="connsiteY9" fmla="*/ 81432 h 338683"/>
              <a:gd name="connsiteX10" fmla="*/ 338683 w 338683"/>
              <a:gd name="connsiteY10" fmla="*/ 169342 h 338683"/>
              <a:gd name="connsiteX11" fmla="*/ 291490 w 338683"/>
              <a:gd name="connsiteY11" fmla="*/ 257251 h 338683"/>
              <a:gd name="connsiteX12" fmla="*/ 257251 w 338683"/>
              <a:gd name="connsiteY12" fmla="*/ 291490 h 338683"/>
              <a:gd name="connsiteX13" fmla="*/ 169342 w 338683"/>
              <a:gd name="connsiteY13" fmla="*/ 338683 h 338683"/>
              <a:gd name="connsiteX14" fmla="*/ 169342 w 338683"/>
              <a:gd name="connsiteY14" fmla="*/ 338683 h 338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8683" h="338683">
                <a:moveTo>
                  <a:pt x="169342" y="338683"/>
                </a:moveTo>
                <a:cubicBezTo>
                  <a:pt x="149169" y="338683"/>
                  <a:pt x="122981" y="333039"/>
                  <a:pt x="81432" y="291490"/>
                </a:cubicBezTo>
                <a:lnTo>
                  <a:pt x="47194" y="257251"/>
                </a:lnTo>
                <a:cubicBezTo>
                  <a:pt x="5645" y="215702"/>
                  <a:pt x="0" y="189515"/>
                  <a:pt x="0" y="169342"/>
                </a:cubicBezTo>
                <a:cubicBezTo>
                  <a:pt x="0" y="149169"/>
                  <a:pt x="5645" y="122981"/>
                  <a:pt x="47194" y="81432"/>
                </a:cubicBezTo>
                <a:lnTo>
                  <a:pt x="81432" y="47194"/>
                </a:lnTo>
                <a:cubicBezTo>
                  <a:pt x="122981" y="5645"/>
                  <a:pt x="149169" y="0"/>
                  <a:pt x="169342" y="0"/>
                </a:cubicBezTo>
                <a:lnTo>
                  <a:pt x="169342" y="0"/>
                </a:lnTo>
                <a:cubicBezTo>
                  <a:pt x="189515" y="0"/>
                  <a:pt x="215702" y="5645"/>
                  <a:pt x="257251" y="47194"/>
                </a:cubicBezTo>
                <a:lnTo>
                  <a:pt x="291490" y="81432"/>
                </a:lnTo>
                <a:cubicBezTo>
                  <a:pt x="333039" y="122981"/>
                  <a:pt x="338683" y="149169"/>
                  <a:pt x="338683" y="169342"/>
                </a:cubicBezTo>
                <a:cubicBezTo>
                  <a:pt x="338683" y="189515"/>
                  <a:pt x="333039" y="215702"/>
                  <a:pt x="291490" y="257251"/>
                </a:cubicBezTo>
                <a:lnTo>
                  <a:pt x="257251" y="291490"/>
                </a:lnTo>
                <a:cubicBezTo>
                  <a:pt x="215702" y="333039"/>
                  <a:pt x="189515" y="338683"/>
                  <a:pt x="169342" y="338683"/>
                </a:cubicBezTo>
                <a:lnTo>
                  <a:pt x="169342" y="338683"/>
                </a:lnTo>
                <a:close/>
              </a:path>
            </a:pathLst>
          </a:custGeom>
          <a:solidFill>
            <a:schemeClr val="bg1"/>
          </a:solidFill>
          <a:ln w="0" cap="flat">
            <a:noFill/>
            <a:prstDash val="solid"/>
            <a:miter/>
          </a:ln>
        </p:spPr>
        <p:txBody>
          <a:bodyPr rtlCol="0" anchor="ctr"/>
          <a:lstStyle/>
          <a:p>
            <a:endParaRPr lang="en-US"/>
          </a:p>
        </p:txBody>
      </p:sp>
      <p:pic>
        <p:nvPicPr>
          <p:cNvPr id="5" name="Grafik 4">
            <a:extLst>
              <a:ext uri="{FF2B5EF4-FFF2-40B4-BE49-F238E27FC236}">
                <a16:creationId xmlns:a16="http://schemas.microsoft.com/office/drawing/2014/main" id="{30A828D3-05EB-53CA-404E-1F80B2C251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5702" y="1244107"/>
            <a:ext cx="2945628" cy="2289071"/>
          </a:xfrm>
          <a:prstGeom prst="rect">
            <a:avLst/>
          </a:prstGeom>
        </p:spPr>
      </p:pic>
      <p:sp>
        <p:nvSpPr>
          <p:cNvPr id="2" name="Rechteck 1">
            <a:extLst>
              <a:ext uri="{FF2B5EF4-FFF2-40B4-BE49-F238E27FC236}">
                <a16:creationId xmlns:a16="http://schemas.microsoft.com/office/drawing/2014/main" id="{E02314A6-13FA-01BB-9C17-85FF755AE6FB}"/>
              </a:ext>
            </a:extLst>
          </p:cNvPr>
          <p:cNvSpPr/>
          <p:nvPr/>
        </p:nvSpPr>
        <p:spPr>
          <a:xfrm>
            <a:off x="0" y="0"/>
            <a:ext cx="1477108" cy="218049"/>
          </a:xfrm>
          <a:prstGeom prst="rect">
            <a:avLst/>
          </a:prstGeom>
          <a:gradFill>
            <a:gsLst>
              <a:gs pos="0">
                <a:srgbClr val="FFEDA1"/>
              </a:gs>
              <a:gs pos="100000">
                <a:srgbClr val="FFF0B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pic>
        <p:nvPicPr>
          <p:cNvPr id="4" name="Grafik 3" descr="Ein Bild, das Menschliches Gesicht, Person, Lächeln, Kleidung enthält.&#10;&#10;KI-generierte Inhalte können fehlerhaft sein.">
            <a:extLst>
              <a:ext uri="{FF2B5EF4-FFF2-40B4-BE49-F238E27FC236}">
                <a16:creationId xmlns:a16="http://schemas.microsoft.com/office/drawing/2014/main" id="{395ED153-854D-FED1-EC1E-C351284C58C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9019" y="2834110"/>
            <a:ext cx="1520825" cy="2025501"/>
          </a:xfrm>
          <a:prstGeom prst="rect">
            <a:avLst/>
          </a:prstGeom>
        </p:spPr>
      </p:pic>
      <p:sp>
        <p:nvSpPr>
          <p:cNvPr id="6" name="Textfeld 5">
            <a:extLst>
              <a:ext uri="{FF2B5EF4-FFF2-40B4-BE49-F238E27FC236}">
                <a16:creationId xmlns:a16="http://schemas.microsoft.com/office/drawing/2014/main" id="{8C232540-83D6-4AF4-6631-F7A2CD6C67A5}"/>
              </a:ext>
            </a:extLst>
          </p:cNvPr>
          <p:cNvSpPr txBox="1"/>
          <p:nvPr/>
        </p:nvSpPr>
        <p:spPr>
          <a:xfrm>
            <a:off x="1972480" y="3580853"/>
            <a:ext cx="2773869" cy="420993"/>
          </a:xfrm>
          <a:prstGeom prst="rect">
            <a:avLst/>
          </a:prstGeom>
          <a:noFill/>
        </p:spPr>
        <p:txBody>
          <a:bodyPr wrap="square" lIns="0" tIns="0" rIns="0" bIns="0" rtlCol="0">
            <a:noAutofit/>
          </a:bodyPr>
          <a:lstStyle/>
          <a:p>
            <a:pPr>
              <a:lnSpc>
                <a:spcPct val="110000"/>
              </a:lnSpc>
              <a:spcAft>
                <a:spcPts val="500"/>
              </a:spcAft>
            </a:pPr>
            <a:r>
              <a:rPr lang="de-DE" sz="2400" b="1">
                <a:solidFill>
                  <a:srgbClr val="007C39"/>
                </a:solidFill>
              </a:rPr>
              <a:t>Guido Wübben</a:t>
            </a:r>
          </a:p>
          <a:p>
            <a:pPr defTabSz="265113">
              <a:lnSpc>
                <a:spcPct val="110000"/>
              </a:lnSpc>
              <a:spcAft>
                <a:spcPts val="800"/>
              </a:spcAft>
            </a:pPr>
            <a:r>
              <a:rPr lang="de-DE" sz="1200"/>
              <a:t>        	guido.wuebben01@deutschepost.de</a:t>
            </a:r>
          </a:p>
          <a:p>
            <a:pPr defTabSz="265113">
              <a:lnSpc>
                <a:spcPct val="110000"/>
              </a:lnSpc>
              <a:spcAft>
                <a:spcPts val="500"/>
              </a:spcAft>
            </a:pPr>
            <a:r>
              <a:rPr lang="de-DE" sz="1200"/>
              <a:t>	+49 1515 4724618</a:t>
            </a:r>
          </a:p>
          <a:p>
            <a:pPr defTabSz="265113">
              <a:lnSpc>
                <a:spcPct val="110000"/>
              </a:lnSpc>
              <a:spcAft>
                <a:spcPts val="500"/>
              </a:spcAft>
            </a:pPr>
            <a:r>
              <a:rPr lang="de-DE" sz="1200"/>
              <a:t>	Guido Wübben</a:t>
            </a:r>
          </a:p>
        </p:txBody>
      </p:sp>
      <p:pic>
        <p:nvPicPr>
          <p:cNvPr id="8" name="Grafik 7" descr="Ein Bild, das Schwarz, Dunkelheit enthält.&#10;&#10;KI-generierte Inhalte können fehlerhaft sein.">
            <a:extLst>
              <a:ext uri="{FF2B5EF4-FFF2-40B4-BE49-F238E27FC236}">
                <a16:creationId xmlns:a16="http://schemas.microsoft.com/office/drawing/2014/main" id="{E91ACD84-A478-B9F2-6EA7-A21693F782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0586" y="4049974"/>
            <a:ext cx="201529" cy="201529"/>
          </a:xfrm>
          <a:prstGeom prst="rect">
            <a:avLst/>
          </a:prstGeom>
        </p:spPr>
      </p:pic>
      <p:pic>
        <p:nvPicPr>
          <p:cNvPr id="10" name="Grafik 9" descr="Ein Bild, das Schwarz, Dunkelheit enthält.&#10;&#10;KI-generierte Inhalte können fehlerhaft sein.">
            <a:extLst>
              <a:ext uri="{FF2B5EF4-FFF2-40B4-BE49-F238E27FC236}">
                <a16:creationId xmlns:a16="http://schemas.microsoft.com/office/drawing/2014/main" id="{83364336-7336-635A-7410-3C6B6ED8B8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70586" y="4343511"/>
            <a:ext cx="175758" cy="175758"/>
          </a:xfrm>
          <a:prstGeom prst="rect">
            <a:avLst/>
          </a:prstGeom>
        </p:spPr>
      </p:pic>
      <p:pic>
        <p:nvPicPr>
          <p:cNvPr id="7" name="Grafik 6" descr="Ein Bild, das Logo, Screenshot, Symbol, Grafiken enthält.&#10;&#10;KI-generierte Inhalte können fehlerhaft sein.">
            <a:extLst>
              <a:ext uri="{FF2B5EF4-FFF2-40B4-BE49-F238E27FC236}">
                <a16:creationId xmlns:a16="http://schemas.microsoft.com/office/drawing/2014/main" id="{9FD6F006-19C9-7023-D058-74E8CC47C4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70585" y="4616930"/>
            <a:ext cx="201529" cy="201529"/>
          </a:xfrm>
          <a:prstGeom prst="rect">
            <a:avLst/>
          </a:prstGeom>
        </p:spPr>
      </p:pic>
    </p:spTree>
    <p:extLst>
      <p:ext uri="{BB962C8B-B14F-4D97-AF65-F5344CB8AC3E}">
        <p14:creationId xmlns:p14="http://schemas.microsoft.com/office/powerpoint/2010/main" val="811264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38">
            <a:extLst>
              <a:ext uri="{FF2B5EF4-FFF2-40B4-BE49-F238E27FC236}">
                <a16:creationId xmlns:a16="http://schemas.microsoft.com/office/drawing/2014/main" id="{C4FBCD1B-E634-4A09-C280-A21BFF04A152}"/>
              </a:ext>
            </a:extLst>
          </p:cNvPr>
          <p:cNvSpPr/>
          <p:nvPr/>
        </p:nvSpPr>
        <p:spPr>
          <a:xfrm>
            <a:off x="1" y="1032465"/>
            <a:ext cx="9144000" cy="10367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a:solidFill>
                <a:schemeClr val="tx1"/>
              </a:solidFill>
            </a:endParaRPr>
          </a:p>
        </p:txBody>
      </p:sp>
      <p:pic>
        <p:nvPicPr>
          <p:cNvPr id="54" name="Grafik 10">
            <a:extLst>
              <a:ext uri="{FF2B5EF4-FFF2-40B4-BE49-F238E27FC236}">
                <a16:creationId xmlns:a16="http://schemas.microsoft.com/office/drawing/2014/main" id="{80936540-BBB9-D6C7-AFAC-8FAC1F34348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828696" y="-1192488"/>
            <a:ext cx="5486608" cy="5486608"/>
          </a:xfrm>
          <a:prstGeom prst="rect">
            <a:avLst/>
          </a:prstGeom>
        </p:spPr>
      </p:pic>
      <p:pic>
        <p:nvPicPr>
          <p:cNvPr id="71" name="Picture 55">
            <a:extLst>
              <a:ext uri="{FF2B5EF4-FFF2-40B4-BE49-F238E27FC236}">
                <a16:creationId xmlns:a16="http://schemas.microsoft.com/office/drawing/2014/main" id="{1FC204D0-71C4-D704-97EE-1F7D69FD70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41356" y="51076"/>
            <a:ext cx="802640" cy="568800"/>
          </a:xfrm>
          <a:prstGeom prst="rect">
            <a:avLst/>
          </a:prstGeom>
        </p:spPr>
      </p:pic>
      <p:sp>
        <p:nvSpPr>
          <p:cNvPr id="2" name="Textfeld 1">
            <a:extLst>
              <a:ext uri="{FF2B5EF4-FFF2-40B4-BE49-F238E27FC236}">
                <a16:creationId xmlns:a16="http://schemas.microsoft.com/office/drawing/2014/main" id="{71D6D914-2A41-E23E-A945-69550B78C0FD}"/>
              </a:ext>
            </a:extLst>
          </p:cNvPr>
          <p:cNvSpPr txBox="1"/>
          <p:nvPr/>
        </p:nvSpPr>
        <p:spPr>
          <a:xfrm>
            <a:off x="323850" y="332563"/>
            <a:ext cx="2170804" cy="179539"/>
          </a:xfrm>
          <a:prstGeom prst="rect">
            <a:avLst/>
          </a:prstGeom>
          <a:noFill/>
        </p:spPr>
        <p:txBody>
          <a:bodyPr wrap="squar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C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t>DHL GROUP STRATEGIE 2030</a:t>
            </a:r>
          </a:p>
        </p:txBody>
      </p:sp>
      <p:sp>
        <p:nvSpPr>
          <p:cNvPr id="23" name="Title 1">
            <a:extLst>
              <a:ext uri="{FF2B5EF4-FFF2-40B4-BE49-F238E27FC236}">
                <a16:creationId xmlns:a16="http://schemas.microsoft.com/office/drawing/2014/main" id="{F7F3C19D-D7BE-A419-8948-CDAB358ACAF4}"/>
              </a:ext>
            </a:extLst>
          </p:cNvPr>
          <p:cNvSpPr txBox="1">
            <a:spLocks/>
          </p:cNvSpPr>
          <p:nvPr/>
        </p:nvSpPr>
        <p:spPr>
          <a:xfrm>
            <a:off x="323850" y="1028449"/>
            <a:ext cx="3750052" cy="493950"/>
          </a:xfrm>
          <a:prstGeom prst="rect">
            <a:avLst/>
          </a:prstGeom>
        </p:spPr>
        <p:txBody>
          <a:bodyPr vert="horz" lIns="0" tIns="0" rIns="0" bIns="0" rtlCol="0" anchor="b">
            <a:noAutofit/>
          </a:bodyPr>
          <a:lstStyle>
            <a:lvl1pPr algn="l" defTabSz="685800" rtl="0" eaLnBrk="1" latinLnBrk="0" hangingPunct="1">
              <a:lnSpc>
                <a:spcPct val="100000"/>
              </a:lnSpc>
              <a:spcBef>
                <a:spcPct val="0"/>
              </a:spcBef>
              <a:buNone/>
              <a:defRPr sz="1800" b="1" kern="1200">
                <a:solidFill>
                  <a:schemeClr val="accent4"/>
                </a:solidFill>
                <a:latin typeface="+mj-lt"/>
                <a:ea typeface="+mj-ea"/>
                <a:cs typeface="+mj-cs"/>
              </a:defRPr>
            </a:lvl1pPr>
          </a:lstStyle>
          <a:p>
            <a:pPr>
              <a:defRPr/>
            </a:pPr>
            <a:r>
              <a:rPr kumimoji="0" lang="de-DE" sz="3200" b="1" i="0" u="none" strike="noStrike" kern="1200" cap="all" spc="0" normalizeH="0" baseline="0">
                <a:ln>
                  <a:noFill/>
                </a:ln>
                <a:solidFill>
                  <a:srgbClr val="D40511"/>
                </a:solidFill>
                <a:effectLst/>
                <a:uLnTx/>
                <a:uFillTx/>
                <a:latin typeface="Delivery Cd Black" panose="020F0906020204020204" pitchFamily="34" charset="0"/>
                <a:ea typeface="+mj-ea"/>
                <a:cs typeface="+mj-cs"/>
              </a:rPr>
              <a:t>Unsere </a:t>
            </a:r>
            <a:r>
              <a:rPr kumimoji="0" lang="de-DE" sz="3200" b="1" i="0" u="none" strike="noStrike" kern="1200" cap="all" spc="0" normalizeH="0" baseline="0" err="1">
                <a:ln>
                  <a:noFill/>
                </a:ln>
                <a:solidFill>
                  <a:srgbClr val="D40511"/>
                </a:solidFill>
                <a:effectLst/>
                <a:uLnTx/>
                <a:uFillTx/>
                <a:latin typeface="Delivery Cd Black" panose="020F0906020204020204" pitchFamily="34" charset="0"/>
                <a:ea typeface="+mj-ea"/>
                <a:cs typeface="+mj-cs"/>
              </a:rPr>
              <a:t>zieldimensionen</a:t>
            </a:r>
            <a:r>
              <a:rPr kumimoji="0" lang="de-DE" sz="3200" b="1" i="0" u="none" strike="noStrike" kern="1200" cap="all" spc="0" normalizeH="0" baseline="0">
                <a:ln>
                  <a:noFill/>
                </a:ln>
                <a:solidFill>
                  <a:srgbClr val="D40511"/>
                </a:solidFill>
                <a:effectLst/>
                <a:uLnTx/>
                <a:uFillTx/>
                <a:latin typeface="Delivery Cd Black" panose="020F0906020204020204" pitchFamily="34" charset="0"/>
                <a:ea typeface="+mj-ea"/>
                <a:cs typeface="+mj-cs"/>
              </a:rPr>
              <a:t> </a:t>
            </a:r>
          </a:p>
        </p:txBody>
      </p:sp>
      <p:sp>
        <p:nvSpPr>
          <p:cNvPr id="57" name="Rectangle 4">
            <a:extLst>
              <a:ext uri="{FF2B5EF4-FFF2-40B4-BE49-F238E27FC236}">
                <a16:creationId xmlns:a16="http://schemas.microsoft.com/office/drawing/2014/main" id="{BD48C7E3-D3BC-4815-A955-0B9A82DAF262}"/>
              </a:ext>
            </a:extLst>
          </p:cNvPr>
          <p:cNvSpPr/>
          <p:nvPr/>
        </p:nvSpPr>
        <p:spPr>
          <a:xfrm>
            <a:off x="368819" y="2765379"/>
            <a:ext cx="1901336" cy="75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a:solidFill>
                <a:schemeClr val="tx1"/>
              </a:solidFill>
            </a:endParaRPr>
          </a:p>
        </p:txBody>
      </p:sp>
      <p:sp>
        <p:nvSpPr>
          <p:cNvPr id="58" name="Rectangle 8">
            <a:extLst>
              <a:ext uri="{FF2B5EF4-FFF2-40B4-BE49-F238E27FC236}">
                <a16:creationId xmlns:a16="http://schemas.microsoft.com/office/drawing/2014/main" id="{371BD202-11AD-C9C7-B78B-C5A05C06DEC0}"/>
              </a:ext>
            </a:extLst>
          </p:cNvPr>
          <p:cNvSpPr/>
          <p:nvPr/>
        </p:nvSpPr>
        <p:spPr>
          <a:xfrm>
            <a:off x="368819" y="2907066"/>
            <a:ext cx="1901336" cy="1968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Als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Arbeitgeber erster Wahl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sind wir bestrebt, einen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sicheren und gesunden Arbeitsplatz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zu schaffen: Wir fördern eine „</a:t>
            </a:r>
            <a:r>
              <a:rPr lang="de-DE" sz="1100" b="0" i="0" err="1">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Safety</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 First“-Kultur, die Gesundheit und das Wohlbefinden unserer Mitarbeitenden sowie unsere Werte „</a:t>
            </a:r>
            <a:r>
              <a:rPr lang="de-DE" sz="1100" b="0" i="0" err="1">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Respect</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 &amp; </a:t>
            </a:r>
            <a:r>
              <a:rPr lang="de-DE" sz="1100" b="0" i="0" err="1">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Results</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a:t>
            </a:r>
            <a:endParaRPr lang="en-US"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endParaRPr>
          </a:p>
        </p:txBody>
      </p:sp>
      <p:sp>
        <p:nvSpPr>
          <p:cNvPr id="59" name="Rectangle 10">
            <a:extLst>
              <a:ext uri="{FF2B5EF4-FFF2-40B4-BE49-F238E27FC236}">
                <a16:creationId xmlns:a16="http://schemas.microsoft.com/office/drawing/2014/main" id="{255C890F-4520-FD8D-ADC8-ECE8D20BDD28}"/>
              </a:ext>
            </a:extLst>
          </p:cNvPr>
          <p:cNvSpPr/>
          <p:nvPr/>
        </p:nvSpPr>
        <p:spPr>
          <a:xfrm>
            <a:off x="2360990" y="2907067"/>
            <a:ext cx="1901336" cy="19682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Als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Anbieter erster  Wahl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wollen wir ein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erstklassiges Kundenerlebnis</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 bieten, indem wir uns auf Kundenorientierung, digitale Innovation und Qualität konzentrieren.</a:t>
            </a:r>
            <a:endParaRPr lang="en-US"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endParaRPr>
          </a:p>
        </p:txBody>
      </p:sp>
      <p:sp>
        <p:nvSpPr>
          <p:cNvPr id="60" name="TextBox 28">
            <a:extLst>
              <a:ext uri="{FF2B5EF4-FFF2-40B4-BE49-F238E27FC236}">
                <a16:creationId xmlns:a16="http://schemas.microsoft.com/office/drawing/2014/main" id="{5014EDF7-F787-AB2D-518F-D4D23BA939C7}"/>
              </a:ext>
            </a:extLst>
          </p:cNvPr>
          <p:cNvSpPr txBox="1"/>
          <p:nvPr/>
        </p:nvSpPr>
        <p:spPr>
          <a:xfrm>
            <a:off x="368820" y="2489513"/>
            <a:ext cx="1901336" cy="271850"/>
          </a:xfrm>
          <a:prstGeom prst="rect">
            <a:avLst/>
          </a:prstGeom>
          <a:noFill/>
        </p:spPr>
        <p:txBody>
          <a:bodyPr wrap="square" lIns="0" tIns="0" rIns="0" bIns="0" rtlCol="0">
            <a:noAutofit/>
          </a:bodyPr>
          <a:lstStyle/>
          <a:p>
            <a:pPr algn="l">
              <a:lnSpc>
                <a:spcPct val="110000"/>
              </a:lnSpc>
              <a:spcAft>
                <a:spcPts val="500"/>
              </a:spcAft>
            </a:pPr>
            <a:r>
              <a:rPr lang="en-US" sz="120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rPr>
              <a:t>ARBEITGEBER ERSTER WAHL </a:t>
            </a:r>
          </a:p>
        </p:txBody>
      </p:sp>
      <p:sp>
        <p:nvSpPr>
          <p:cNvPr id="61" name="Rectangle 29">
            <a:extLst>
              <a:ext uri="{FF2B5EF4-FFF2-40B4-BE49-F238E27FC236}">
                <a16:creationId xmlns:a16="http://schemas.microsoft.com/office/drawing/2014/main" id="{8C7CE064-31DA-2B7B-6882-D06B303F1D4C}"/>
              </a:ext>
            </a:extLst>
          </p:cNvPr>
          <p:cNvSpPr/>
          <p:nvPr/>
        </p:nvSpPr>
        <p:spPr>
          <a:xfrm>
            <a:off x="2360990" y="2765379"/>
            <a:ext cx="1901336" cy="75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a:solidFill>
                <a:schemeClr val="tx1"/>
              </a:solidFill>
            </a:endParaRPr>
          </a:p>
        </p:txBody>
      </p:sp>
      <p:sp>
        <p:nvSpPr>
          <p:cNvPr id="62" name="TextBox 30">
            <a:extLst>
              <a:ext uri="{FF2B5EF4-FFF2-40B4-BE49-F238E27FC236}">
                <a16:creationId xmlns:a16="http://schemas.microsoft.com/office/drawing/2014/main" id="{FFB329F9-B1BA-15CB-5014-7FE68B19897A}"/>
              </a:ext>
            </a:extLst>
          </p:cNvPr>
          <p:cNvSpPr txBox="1"/>
          <p:nvPr/>
        </p:nvSpPr>
        <p:spPr>
          <a:xfrm>
            <a:off x="2360991" y="2489513"/>
            <a:ext cx="1901336" cy="271850"/>
          </a:xfrm>
          <a:prstGeom prst="rect">
            <a:avLst/>
          </a:prstGeom>
          <a:noFill/>
        </p:spPr>
        <p:txBody>
          <a:bodyPr wrap="square" lIns="0" tIns="0" rIns="0" bIns="0" rtlCol="0">
            <a:noAutofit/>
          </a:bodyPr>
          <a:lstStyle/>
          <a:p>
            <a:pPr algn="l">
              <a:lnSpc>
                <a:spcPct val="110000"/>
              </a:lnSpc>
              <a:spcAft>
                <a:spcPts val="500"/>
              </a:spcAft>
            </a:pPr>
            <a:r>
              <a:rPr lang="en-US" sz="1200">
                <a:solidFill>
                  <a:schemeClr val="accent3"/>
                </a:solidFill>
                <a:latin typeface="Delivery Cd Black" panose="020F0906020204020204" pitchFamily="34" charset="0"/>
                <a:ea typeface="Delivery Cd Black" panose="020F0906020204020204" pitchFamily="34" charset="0"/>
                <a:cs typeface="Delivery Cd Black" panose="020F0906020204020204" pitchFamily="34" charset="0"/>
              </a:rPr>
              <a:t>ANBIETER ERSTER WAHL </a:t>
            </a:r>
          </a:p>
        </p:txBody>
      </p:sp>
      <p:sp>
        <p:nvSpPr>
          <p:cNvPr id="63" name="Rectangle 31">
            <a:extLst>
              <a:ext uri="{FF2B5EF4-FFF2-40B4-BE49-F238E27FC236}">
                <a16:creationId xmlns:a16="http://schemas.microsoft.com/office/drawing/2014/main" id="{81BB46B1-5146-B19F-B8AA-EA0CEB020D82}"/>
              </a:ext>
            </a:extLst>
          </p:cNvPr>
          <p:cNvSpPr/>
          <p:nvPr/>
        </p:nvSpPr>
        <p:spPr>
          <a:xfrm>
            <a:off x="4353161" y="2765379"/>
            <a:ext cx="1901336" cy="756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a:solidFill>
                <a:schemeClr val="tx1"/>
              </a:solidFill>
            </a:endParaRPr>
          </a:p>
        </p:txBody>
      </p:sp>
      <p:sp>
        <p:nvSpPr>
          <p:cNvPr id="65" name="TextBox 32">
            <a:extLst>
              <a:ext uri="{FF2B5EF4-FFF2-40B4-BE49-F238E27FC236}">
                <a16:creationId xmlns:a16="http://schemas.microsoft.com/office/drawing/2014/main" id="{CEF9BAE8-37AD-7FDD-AAAB-82C0C608B1F6}"/>
              </a:ext>
            </a:extLst>
          </p:cNvPr>
          <p:cNvSpPr txBox="1"/>
          <p:nvPr/>
        </p:nvSpPr>
        <p:spPr>
          <a:xfrm>
            <a:off x="4353162" y="2489514"/>
            <a:ext cx="1901336" cy="271850"/>
          </a:xfrm>
          <a:prstGeom prst="rect">
            <a:avLst/>
          </a:prstGeom>
          <a:noFill/>
        </p:spPr>
        <p:txBody>
          <a:bodyPr wrap="square" lIns="0" tIns="0" rIns="0" bIns="0" rtlCol="0">
            <a:noAutofit/>
          </a:bodyPr>
          <a:lstStyle/>
          <a:p>
            <a:pPr algn="l">
              <a:lnSpc>
                <a:spcPct val="110000"/>
              </a:lnSpc>
              <a:spcAft>
                <a:spcPts val="500"/>
              </a:spcAft>
            </a:pPr>
            <a:r>
              <a:rPr lang="en-US" sz="1200">
                <a:solidFill>
                  <a:schemeClr val="bg1">
                    <a:lumMod val="50000"/>
                  </a:schemeClr>
                </a:solidFill>
                <a:latin typeface="Delivery Cd Black" panose="020F0906020204020204" pitchFamily="34" charset="0"/>
                <a:ea typeface="Delivery Cd Black" panose="020F0906020204020204" pitchFamily="34" charset="0"/>
                <a:cs typeface="Delivery Cd Black" panose="020F0906020204020204" pitchFamily="34" charset="0"/>
              </a:rPr>
              <a:t>INVESTMENT ERSTER WAHL </a:t>
            </a:r>
          </a:p>
        </p:txBody>
      </p:sp>
      <p:sp>
        <p:nvSpPr>
          <p:cNvPr id="66" name="Rectangle 33">
            <a:extLst>
              <a:ext uri="{FF2B5EF4-FFF2-40B4-BE49-F238E27FC236}">
                <a16:creationId xmlns:a16="http://schemas.microsoft.com/office/drawing/2014/main" id="{C4B2AEC6-D418-6795-1D18-EFBB713D8E35}"/>
              </a:ext>
            </a:extLst>
          </p:cNvPr>
          <p:cNvSpPr/>
          <p:nvPr/>
        </p:nvSpPr>
        <p:spPr>
          <a:xfrm>
            <a:off x="4353161" y="2907067"/>
            <a:ext cx="1901336" cy="19682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Als </a:t>
            </a:r>
            <a:r>
              <a:rPr lang="de-DE" sz="1100" b="1" i="0">
                <a:solidFill>
                  <a:srgbClr val="191919"/>
                </a:solidFill>
                <a:effectLst/>
                <a:latin typeface="+mj-lt"/>
                <a:ea typeface="Delivery Arabic" panose="020F0503020204020204" pitchFamily="34" charset="-78"/>
                <a:cs typeface="Delivery Arabic" panose="020F0503020204020204" pitchFamily="34" charset="-78"/>
              </a:rPr>
              <a:t>Investment erster Wahl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wollen wir unser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Wachstum beschleunigen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 auf profitable und nachhaltige Weise. Dies wird durch eine zuverlässige und belastbare Ausführung, strenge Compliance und robuste Cybersicherheits-maßnahmen untermauert.</a:t>
            </a:r>
            <a:endParaRPr lang="en-US"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endParaRPr>
          </a:p>
        </p:txBody>
      </p:sp>
      <p:sp>
        <p:nvSpPr>
          <p:cNvPr id="67" name="Rectangle 34">
            <a:extLst>
              <a:ext uri="{FF2B5EF4-FFF2-40B4-BE49-F238E27FC236}">
                <a16:creationId xmlns:a16="http://schemas.microsoft.com/office/drawing/2014/main" id="{812340B9-7C48-C72A-E954-1581CA48E35E}"/>
              </a:ext>
            </a:extLst>
          </p:cNvPr>
          <p:cNvSpPr/>
          <p:nvPr/>
        </p:nvSpPr>
        <p:spPr>
          <a:xfrm>
            <a:off x="6345311" y="2765379"/>
            <a:ext cx="2279433" cy="75600"/>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a:solidFill>
                <a:schemeClr val="tx1"/>
              </a:solidFill>
            </a:endParaRPr>
          </a:p>
        </p:txBody>
      </p:sp>
      <p:sp>
        <p:nvSpPr>
          <p:cNvPr id="68" name="TextBox 35">
            <a:extLst>
              <a:ext uri="{FF2B5EF4-FFF2-40B4-BE49-F238E27FC236}">
                <a16:creationId xmlns:a16="http://schemas.microsoft.com/office/drawing/2014/main" id="{8F323026-2917-8D17-0E62-B8B9B42CBB40}"/>
              </a:ext>
            </a:extLst>
          </p:cNvPr>
          <p:cNvSpPr txBox="1"/>
          <p:nvPr/>
        </p:nvSpPr>
        <p:spPr>
          <a:xfrm>
            <a:off x="6345311" y="2489516"/>
            <a:ext cx="2279433" cy="271850"/>
          </a:xfrm>
          <a:prstGeom prst="rect">
            <a:avLst/>
          </a:prstGeom>
          <a:noFill/>
        </p:spPr>
        <p:txBody>
          <a:bodyPr wrap="square" lIns="0" tIns="0" rIns="0" bIns="0" rtlCol="0">
            <a:noAutofit/>
          </a:bodyPr>
          <a:lstStyle/>
          <a:p>
            <a:pPr algn="l">
              <a:lnSpc>
                <a:spcPct val="110000"/>
              </a:lnSpc>
              <a:spcAft>
                <a:spcPts val="500"/>
              </a:spcAft>
            </a:pPr>
            <a:r>
              <a:rPr lang="en-US" sz="1200">
                <a:solidFill>
                  <a:srgbClr val="006443"/>
                </a:solidFill>
                <a:latin typeface="Delivery Cd Black" panose="020F0906020204020204" pitchFamily="34" charset="0"/>
                <a:ea typeface="Delivery Cd Black" panose="020F0906020204020204" pitchFamily="34" charset="0"/>
                <a:cs typeface="Delivery Cd Black" panose="020F0906020204020204" pitchFamily="34" charset="0"/>
              </a:rPr>
              <a:t>GRÜNE LOGISTIK ERSTER WAHL </a:t>
            </a:r>
          </a:p>
        </p:txBody>
      </p:sp>
      <p:sp>
        <p:nvSpPr>
          <p:cNvPr id="69" name="Rectangle 36">
            <a:extLst>
              <a:ext uri="{FF2B5EF4-FFF2-40B4-BE49-F238E27FC236}">
                <a16:creationId xmlns:a16="http://schemas.microsoft.com/office/drawing/2014/main" id="{D7B2BC30-52B7-1874-8B22-90B841777250}"/>
              </a:ext>
            </a:extLst>
          </p:cNvPr>
          <p:cNvSpPr/>
          <p:nvPr/>
        </p:nvSpPr>
        <p:spPr>
          <a:xfrm>
            <a:off x="6345311" y="2907069"/>
            <a:ext cx="2279433" cy="19682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Als </a:t>
            </a:r>
            <a:r>
              <a:rPr lang="de-DE" sz="1100" b="1" i="0">
                <a:solidFill>
                  <a:srgbClr val="191919"/>
                </a:solidFill>
                <a:effectLst/>
                <a:latin typeface="Delivery" panose="020F0503020204020204" pitchFamily="34" charset="0"/>
                <a:ea typeface="Delivery" panose="020F0503020204020204" pitchFamily="34" charset="0"/>
                <a:cs typeface="Delivery" panose="020F0503020204020204" pitchFamily="34" charset="0"/>
              </a:rPr>
              <a:t>grüne Logistik erster Wahl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wird die Nachhaltigkeit zu einem immer wichtigeren Unterscheidungsmerkmal in der Logistik. Es ist von entscheidender Bedeutung, unsere </a:t>
            </a:r>
            <a:r>
              <a:rPr lang="de-DE" sz="1100" b="0" i="0" err="1">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Kund:innen</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 dabei zu unterstützen, klimaneutral zu werden, und wir wollen dies erreichen, indem wir weiterhin Vorreiter bei </a:t>
            </a:r>
            <a:r>
              <a:rPr lang="de-DE" sz="1100" b="1">
                <a:solidFill>
                  <a:srgbClr val="191919"/>
                </a:solidFill>
                <a:effectLst/>
                <a:latin typeface="Delivery" panose="020F0503020204020204" pitchFamily="34" charset="0"/>
                <a:ea typeface="Delivery" panose="020F0503020204020204" pitchFamily="34" charset="0"/>
                <a:cs typeface="Delivery" panose="020F0503020204020204" pitchFamily="34" charset="0"/>
              </a:rPr>
              <a:t>kohlenstoffarmen Logistikabläufen </a:t>
            </a:r>
            <a:r>
              <a:rPr lang="de-DE" sz="1100" b="0" i="0">
                <a:solidFill>
                  <a:srgbClr val="191919"/>
                </a:solidFill>
                <a:effectLst/>
                <a:latin typeface="Delivery Light" panose="020F0403020204020204" pitchFamily="34" charset="0"/>
                <a:ea typeface="Delivery Light" panose="020F0403020204020204" pitchFamily="34" charset="0"/>
                <a:cs typeface="Delivery Light" panose="020F0403020204020204" pitchFamily="34" charset="0"/>
              </a:rPr>
              <a:t>sind.</a:t>
            </a:r>
            <a:endParaRPr lang="en-US" sz="1100" b="0" i="0">
              <a:solidFill>
                <a:srgbClr val="191919"/>
              </a:solidFill>
              <a:effectLst/>
              <a:latin typeface="+mj-lt"/>
              <a:ea typeface="Delivery Light" panose="020F0403020204020204" pitchFamily="34" charset="0"/>
              <a:cs typeface="Delivery Light" panose="020F0403020204020204" pitchFamily="34" charset="0"/>
            </a:endParaRPr>
          </a:p>
        </p:txBody>
      </p:sp>
      <p:sp>
        <p:nvSpPr>
          <p:cNvPr id="3" name="Slide Number Placeholder 2">
            <a:extLst>
              <a:ext uri="{FF2B5EF4-FFF2-40B4-BE49-F238E27FC236}">
                <a16:creationId xmlns:a16="http://schemas.microsoft.com/office/drawing/2014/main" id="{34D74011-E53E-F9A2-BE40-B3073259B367}"/>
              </a:ext>
            </a:extLst>
          </p:cNvPr>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8C0F77-E0AC-4DD7-9031-4D8F91DE1335}" type="slidenum">
              <a:rPr kumimoji="0" lang="en-US" sz="9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prstClr val="black"/>
              </a:solidFill>
              <a:effectLst/>
              <a:uLnTx/>
              <a:uFillTx/>
              <a:latin typeface="Delivery"/>
              <a:ea typeface="+mn-ea"/>
              <a:cs typeface="+mn-cs"/>
            </a:endParaRPr>
          </a:p>
        </p:txBody>
      </p:sp>
      <p:pic>
        <p:nvPicPr>
          <p:cNvPr id="70" name="Picture 37" descr="A colorful square with text&#10;&#10;Description automatically generated with medium confidence">
            <a:extLst>
              <a:ext uri="{FF2B5EF4-FFF2-40B4-BE49-F238E27FC236}">
                <a16:creationId xmlns:a16="http://schemas.microsoft.com/office/drawing/2014/main" id="{082F7B61-F8A2-5DF5-1263-6B0D9750796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75273" y="654089"/>
            <a:ext cx="1793455" cy="1793455"/>
          </a:xfrm>
          <a:prstGeom prst="rect">
            <a:avLst/>
          </a:prstGeom>
        </p:spPr>
      </p:pic>
      <p:pic>
        <p:nvPicPr>
          <p:cNvPr id="5" name="Graphic 6">
            <a:extLst>
              <a:ext uri="{FF2B5EF4-FFF2-40B4-BE49-F238E27FC236}">
                <a16:creationId xmlns:a16="http://schemas.microsoft.com/office/drawing/2014/main" id="{D2B01C15-14B3-9ACE-8292-BA5EBDDF92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6591" y="2484636"/>
            <a:ext cx="629093" cy="629093"/>
          </a:xfrm>
          <a:prstGeom prst="rect">
            <a:avLst/>
          </a:prstGeom>
          <a:effectLst>
            <a:outerShdw blurRad="50800" dist="38100" dir="2700000" algn="tl" rotWithShape="0">
              <a:prstClr val="black">
                <a:alpha val="40000"/>
              </a:prstClr>
            </a:outerShdw>
          </a:effectLst>
        </p:spPr>
      </p:pic>
      <p:sp>
        <p:nvSpPr>
          <p:cNvPr id="6" name="Textfeld 5">
            <a:extLst>
              <a:ext uri="{FF2B5EF4-FFF2-40B4-BE49-F238E27FC236}">
                <a16:creationId xmlns:a16="http://schemas.microsoft.com/office/drawing/2014/main" id="{A8295238-96BE-BACE-16C6-49CFAC99F018}"/>
              </a:ext>
            </a:extLst>
          </p:cNvPr>
          <p:cNvSpPr txBox="1"/>
          <p:nvPr/>
        </p:nvSpPr>
        <p:spPr>
          <a:xfrm>
            <a:off x="8416785" y="2699844"/>
            <a:ext cx="508705" cy="198676"/>
          </a:xfrm>
          <a:prstGeom prst="rect">
            <a:avLst/>
          </a:prstGeom>
          <a:noFill/>
        </p:spPr>
        <p:txBody>
          <a:bodyPr wrap="square" lIns="0" tIns="0" rIns="0" bIns="0" rtlCol="0" anchor="ctr">
            <a:noAutofit/>
          </a:bodyPr>
          <a:lstStyle/>
          <a:p>
            <a:pPr algn="ctr">
              <a:lnSpc>
                <a:spcPct val="110000"/>
              </a:lnSpc>
              <a:spcAft>
                <a:spcPts val="500"/>
              </a:spcAft>
            </a:pPr>
            <a:r>
              <a:rPr lang="de-DE" sz="1400" b="1">
                <a:solidFill>
                  <a:schemeClr val="bg1"/>
                </a:solidFill>
              </a:rPr>
              <a:t>NEU</a:t>
            </a:r>
          </a:p>
        </p:txBody>
      </p:sp>
    </p:spTree>
    <p:extLst>
      <p:ext uri="{BB962C8B-B14F-4D97-AF65-F5344CB8AC3E}">
        <p14:creationId xmlns:p14="http://schemas.microsoft.com/office/powerpoint/2010/main" val="10347096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8736756-801A-3C01-B73F-9EF013FBEFEF}"/>
              </a:ext>
            </a:extLst>
          </p:cNvPr>
          <p:cNvSpPr>
            <a:spLocks noGrp="1"/>
          </p:cNvSpPr>
          <p:nvPr>
            <p:ph type="sldNum" sz="quarter" idx="11"/>
          </p:nvPr>
        </p:nvSpPr>
        <p:spPr/>
        <p:txBody>
          <a:bodyPr/>
          <a:lstStyle/>
          <a:p>
            <a:fld id="{C2245BC1-4D7B-4ED3-8F01-840FA35126C6}" type="slidenum">
              <a:rPr lang="en-US" smtClean="0"/>
              <a:pPr/>
              <a:t>3</a:t>
            </a:fld>
            <a:endParaRPr lang="en-US"/>
          </a:p>
        </p:txBody>
      </p:sp>
      <p:sp>
        <p:nvSpPr>
          <p:cNvPr id="2" name="Rechteck 53">
            <a:extLst>
              <a:ext uri="{FF2B5EF4-FFF2-40B4-BE49-F238E27FC236}">
                <a16:creationId xmlns:a16="http://schemas.microsoft.com/office/drawing/2014/main" id="{DA5CD052-CA26-74C3-1F40-D7BE2BBFE674}"/>
              </a:ext>
            </a:extLst>
          </p:cNvPr>
          <p:cNvSpPr/>
          <p:nvPr/>
        </p:nvSpPr>
        <p:spPr>
          <a:xfrm>
            <a:off x="577150" y="879719"/>
            <a:ext cx="5430715" cy="2580849"/>
          </a:xfrm>
          <a:custGeom>
            <a:avLst/>
            <a:gdLst>
              <a:gd name="connsiteX0" fmla="*/ 0 w 5400213"/>
              <a:gd name="connsiteY0" fmla="*/ 0 h 2073010"/>
              <a:gd name="connsiteX1" fmla="*/ 5400213 w 5400213"/>
              <a:gd name="connsiteY1" fmla="*/ 0 h 2073010"/>
              <a:gd name="connsiteX2" fmla="*/ 5400213 w 5400213"/>
              <a:gd name="connsiteY2" fmla="*/ 2073010 h 2073010"/>
              <a:gd name="connsiteX3" fmla="*/ 0 w 5400213"/>
              <a:gd name="connsiteY3" fmla="*/ 2073010 h 2073010"/>
              <a:gd name="connsiteX4" fmla="*/ 0 w 5400213"/>
              <a:gd name="connsiteY4" fmla="*/ 0 h 2073010"/>
              <a:gd name="connsiteX0" fmla="*/ 0 w 5407088"/>
              <a:gd name="connsiteY0" fmla="*/ 426262 h 2499272"/>
              <a:gd name="connsiteX1" fmla="*/ 5407088 w 5407088"/>
              <a:gd name="connsiteY1" fmla="*/ 0 h 2499272"/>
              <a:gd name="connsiteX2" fmla="*/ 5400213 w 5407088"/>
              <a:gd name="connsiteY2" fmla="*/ 2499272 h 2499272"/>
              <a:gd name="connsiteX3" fmla="*/ 0 w 5407088"/>
              <a:gd name="connsiteY3" fmla="*/ 2499272 h 2499272"/>
              <a:gd name="connsiteX4" fmla="*/ 0 w 5407088"/>
              <a:gd name="connsiteY4" fmla="*/ 426262 h 2499272"/>
              <a:gd name="connsiteX0" fmla="*/ 0 w 5407088"/>
              <a:gd name="connsiteY0" fmla="*/ 426262 h 2499272"/>
              <a:gd name="connsiteX1" fmla="*/ 5407088 w 5407088"/>
              <a:gd name="connsiteY1" fmla="*/ 0 h 2499272"/>
              <a:gd name="connsiteX2" fmla="*/ 5400213 w 5407088"/>
              <a:gd name="connsiteY2" fmla="*/ 2499272 h 2499272"/>
              <a:gd name="connsiteX3" fmla="*/ 0 w 5407088"/>
              <a:gd name="connsiteY3" fmla="*/ 2499272 h 2499272"/>
              <a:gd name="connsiteX4" fmla="*/ 0 w 5407088"/>
              <a:gd name="connsiteY4" fmla="*/ 426262 h 2499272"/>
              <a:gd name="connsiteX0" fmla="*/ 0 w 5407088"/>
              <a:gd name="connsiteY0" fmla="*/ 426262 h 2499272"/>
              <a:gd name="connsiteX1" fmla="*/ 5407088 w 5407088"/>
              <a:gd name="connsiteY1" fmla="*/ 0 h 2499272"/>
              <a:gd name="connsiteX2" fmla="*/ 5400213 w 5407088"/>
              <a:gd name="connsiteY2" fmla="*/ 2499272 h 2499272"/>
              <a:gd name="connsiteX3" fmla="*/ 0 w 5407088"/>
              <a:gd name="connsiteY3" fmla="*/ 2499272 h 2499272"/>
              <a:gd name="connsiteX4" fmla="*/ 0 w 5407088"/>
              <a:gd name="connsiteY4" fmla="*/ 426262 h 2499272"/>
              <a:gd name="connsiteX0" fmla="*/ 0 w 5407088"/>
              <a:gd name="connsiteY0" fmla="*/ 491088 h 2499272"/>
              <a:gd name="connsiteX1" fmla="*/ 5407088 w 5407088"/>
              <a:gd name="connsiteY1" fmla="*/ 0 h 2499272"/>
              <a:gd name="connsiteX2" fmla="*/ 5400213 w 5407088"/>
              <a:gd name="connsiteY2" fmla="*/ 2499272 h 2499272"/>
              <a:gd name="connsiteX3" fmla="*/ 0 w 5407088"/>
              <a:gd name="connsiteY3" fmla="*/ 2499272 h 2499272"/>
              <a:gd name="connsiteX4" fmla="*/ 0 w 5407088"/>
              <a:gd name="connsiteY4" fmla="*/ 491088 h 249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7088" h="2499272">
                <a:moveTo>
                  <a:pt x="0" y="491088"/>
                </a:moveTo>
                <a:cubicBezTo>
                  <a:pt x="3328654" y="404003"/>
                  <a:pt x="5399149" y="11459"/>
                  <a:pt x="5407088" y="0"/>
                </a:cubicBezTo>
                <a:cubicBezTo>
                  <a:pt x="5404796" y="833091"/>
                  <a:pt x="5402505" y="1666181"/>
                  <a:pt x="5400213" y="2499272"/>
                </a:cubicBezTo>
                <a:lnTo>
                  <a:pt x="0" y="2499272"/>
                </a:lnTo>
                <a:lnTo>
                  <a:pt x="0" y="491088"/>
                </a:lnTo>
                <a:close/>
              </a:path>
            </a:pathLst>
          </a:custGeom>
          <a:solidFill>
            <a:schemeClr val="bg2"/>
          </a:solidFill>
          <a:ln w="11394" cap="flat">
            <a:noFill/>
            <a:prstDash val="solid"/>
            <a:miter/>
          </a:ln>
          <a:effectLst>
            <a:outerShdw dist="25400" dir="16200000" rotWithShape="0">
              <a:schemeClr val="accent1"/>
            </a:outerShdw>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 name="Freihandform 16">
            <a:extLst>
              <a:ext uri="{FF2B5EF4-FFF2-40B4-BE49-F238E27FC236}">
                <a16:creationId xmlns:a16="http://schemas.microsoft.com/office/drawing/2014/main" id="{62099275-EA4A-A106-F800-012B5C9DFFE2}"/>
              </a:ext>
            </a:extLst>
          </p:cNvPr>
          <p:cNvSpPr/>
          <p:nvPr/>
        </p:nvSpPr>
        <p:spPr>
          <a:xfrm>
            <a:off x="577150" y="1415446"/>
            <a:ext cx="7143205" cy="3096237"/>
          </a:xfrm>
          <a:custGeom>
            <a:avLst/>
            <a:gdLst>
              <a:gd name="connsiteX0" fmla="*/ 829343 w 6096704"/>
              <a:gd name="connsiteY0" fmla="*/ 0 h 2927214"/>
              <a:gd name="connsiteX1" fmla="*/ 0 w 6096704"/>
              <a:gd name="connsiteY1" fmla="*/ 0 h 2927214"/>
              <a:gd name="connsiteX2" fmla="*/ 0 w 6096704"/>
              <a:gd name="connsiteY2" fmla="*/ 2921932 h 2927214"/>
              <a:gd name="connsiteX3" fmla="*/ 829343 w 6096704"/>
              <a:gd name="connsiteY3" fmla="*/ 2921932 h 2927214"/>
              <a:gd name="connsiteX4" fmla="*/ 6096705 w 6096704"/>
              <a:gd name="connsiteY4" fmla="*/ 2927215 h 2927214"/>
              <a:gd name="connsiteX5" fmla="*/ 829343 w 6096704"/>
              <a:gd name="connsiteY5" fmla="*/ 0 h 2927214"/>
              <a:gd name="connsiteX0" fmla="*/ 829343 w 6096705"/>
              <a:gd name="connsiteY0" fmla="*/ 0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29343 w 6096705"/>
              <a:gd name="connsiteY5" fmla="*/ 0 h 2927215"/>
              <a:gd name="connsiteX0" fmla="*/ 829343 w 6096705"/>
              <a:gd name="connsiteY0" fmla="*/ 0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29343 w 6096705"/>
              <a:gd name="connsiteY5" fmla="*/ 0 h 2927215"/>
              <a:gd name="connsiteX0" fmla="*/ 829343 w 6096705"/>
              <a:gd name="connsiteY0" fmla="*/ 0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29343 w 6096705"/>
              <a:gd name="connsiteY5" fmla="*/ 0 h 2927215"/>
              <a:gd name="connsiteX0" fmla="*/ 829343 w 6096705"/>
              <a:gd name="connsiteY0" fmla="*/ 0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29343 w 6096705"/>
              <a:gd name="connsiteY5" fmla="*/ 0 h 2927215"/>
              <a:gd name="connsiteX0" fmla="*/ 839479 w 6096705"/>
              <a:gd name="connsiteY0" fmla="*/ 78590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78590 h 2927215"/>
              <a:gd name="connsiteX0" fmla="*/ 839479 w 6096705"/>
              <a:gd name="connsiteY0" fmla="*/ 50523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50523 h 2927215"/>
              <a:gd name="connsiteX0" fmla="*/ 839479 w 6096705"/>
              <a:gd name="connsiteY0" fmla="*/ 50523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50523 h 2927215"/>
              <a:gd name="connsiteX0" fmla="*/ 839479 w 6096705"/>
              <a:gd name="connsiteY0" fmla="*/ 50523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50523 h 2927215"/>
              <a:gd name="connsiteX0" fmla="*/ 839479 w 6096705"/>
              <a:gd name="connsiteY0" fmla="*/ 50523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50523 h 2927215"/>
              <a:gd name="connsiteX0" fmla="*/ 839479 w 6096705"/>
              <a:gd name="connsiteY0" fmla="*/ 50523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839479 w 6096705"/>
              <a:gd name="connsiteY5" fmla="*/ 50523 h 2927215"/>
              <a:gd name="connsiteX0" fmla="*/ 1133410 w 6096705"/>
              <a:gd name="connsiteY0" fmla="*/ 89817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1133410 w 6096705"/>
              <a:gd name="connsiteY5" fmla="*/ 89817 h 2927215"/>
              <a:gd name="connsiteX0" fmla="*/ 1133410 w 6096705"/>
              <a:gd name="connsiteY0" fmla="*/ 89817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5" fmla="*/ 1133410 w 6096705"/>
              <a:gd name="connsiteY5" fmla="*/ 89817 h 2927215"/>
              <a:gd name="connsiteX0" fmla="*/ 6096705 w 6096705"/>
              <a:gd name="connsiteY0" fmla="*/ 2927215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0" fmla="*/ 6096705 w 6096705"/>
              <a:gd name="connsiteY0" fmla="*/ 2927215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0" fmla="*/ 6096705 w 6096705"/>
              <a:gd name="connsiteY0" fmla="*/ 2927215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0" fmla="*/ 6096705 w 6096705"/>
              <a:gd name="connsiteY0" fmla="*/ 2927215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 name="connsiteX0" fmla="*/ 6096705 w 6098882"/>
              <a:gd name="connsiteY0" fmla="*/ 2927215 h 3705230"/>
              <a:gd name="connsiteX1" fmla="*/ 0 w 6098882"/>
              <a:gd name="connsiteY1" fmla="*/ 0 h 3705230"/>
              <a:gd name="connsiteX2" fmla="*/ 0 w 6098882"/>
              <a:gd name="connsiteY2" fmla="*/ 2921932 h 3705230"/>
              <a:gd name="connsiteX3" fmla="*/ 829343 w 6098882"/>
              <a:gd name="connsiteY3" fmla="*/ 2921932 h 3705230"/>
              <a:gd name="connsiteX4" fmla="*/ 6096705 w 6098882"/>
              <a:gd name="connsiteY4" fmla="*/ 2927215 h 3705230"/>
              <a:gd name="connsiteX0" fmla="*/ 6096705 w 6096705"/>
              <a:gd name="connsiteY0" fmla="*/ 2927215 h 2927215"/>
              <a:gd name="connsiteX1" fmla="*/ 0 w 6096705"/>
              <a:gd name="connsiteY1" fmla="*/ 0 h 2927215"/>
              <a:gd name="connsiteX2" fmla="*/ 0 w 6096705"/>
              <a:gd name="connsiteY2" fmla="*/ 2921932 h 2927215"/>
              <a:gd name="connsiteX3" fmla="*/ 829343 w 6096705"/>
              <a:gd name="connsiteY3" fmla="*/ 2921932 h 2927215"/>
              <a:gd name="connsiteX4" fmla="*/ 6096705 w 6096705"/>
              <a:gd name="connsiteY4" fmla="*/ 2927215 h 2927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705" h="2927215">
                <a:moveTo>
                  <a:pt x="6096705" y="2927215"/>
                </a:moveTo>
                <a:cubicBezTo>
                  <a:pt x="6049701" y="2131483"/>
                  <a:pt x="2886127" y="57016"/>
                  <a:pt x="0" y="0"/>
                </a:cubicBezTo>
                <a:lnTo>
                  <a:pt x="0" y="2921932"/>
                </a:lnTo>
                <a:lnTo>
                  <a:pt x="829343" y="2921932"/>
                </a:lnTo>
                <a:lnTo>
                  <a:pt x="6096705" y="2927215"/>
                </a:lnTo>
                <a:close/>
              </a:path>
            </a:pathLst>
          </a:custGeom>
          <a:solidFill>
            <a:srgbClr val="FFF5CC"/>
          </a:solidFill>
          <a:ln w="11394" cap="flat">
            <a:noFill/>
            <a:prstDash val="solid"/>
            <a:miter/>
          </a:ln>
          <a:effectLst>
            <a:outerShdw dist="50800" dir="16200000" rotWithShape="0">
              <a:srgbClr val="007C39"/>
            </a:outerShdw>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 name="Textfeld 11">
            <a:extLst>
              <a:ext uri="{FF2B5EF4-FFF2-40B4-BE49-F238E27FC236}">
                <a16:creationId xmlns:a16="http://schemas.microsoft.com/office/drawing/2014/main" id="{1A13C0B3-718E-FF2C-522D-6C626AA77DC3}"/>
              </a:ext>
            </a:extLst>
          </p:cNvPr>
          <p:cNvSpPr txBox="1"/>
          <p:nvPr/>
        </p:nvSpPr>
        <p:spPr>
          <a:xfrm>
            <a:off x="1693270" y="4554103"/>
            <a:ext cx="1908852" cy="197659"/>
          </a:xfrm>
          <a:prstGeom prst="rect">
            <a:avLst/>
          </a:prstGeom>
          <a:noFill/>
        </p:spPr>
        <p:txBody>
          <a:bodyPr wrap="square" lIns="0" tIns="0" rIns="0" bIns="0" rtlCol="0">
            <a:noAutofit/>
          </a:bodyPr>
          <a:lstStyle/>
          <a:p>
            <a:pPr marL="0" marR="0" lvl="0" indent="0" algn="ctr" defTabSz="685800" rtl="0" eaLnBrk="1" fontAlgn="auto" latinLnBrk="0" hangingPunct="1">
              <a:lnSpc>
                <a:spcPct val="110000"/>
              </a:lnSpc>
              <a:spcBef>
                <a:spcPts val="0"/>
              </a:spcBef>
              <a:spcAft>
                <a:spcPts val="500"/>
              </a:spcAft>
              <a:buClrTx/>
              <a:buSzTx/>
              <a:buFontTx/>
              <a:buNone/>
              <a:tabLst/>
              <a:defRPr/>
            </a:pPr>
            <a:r>
              <a:rPr kumimoji="0" lang="de-DE" sz="1000" b="1" i="1" u="none" strike="noStrike" kern="1200" cap="none" spc="0" normalizeH="0" baseline="0" noProof="0">
                <a:ln>
                  <a:noFill/>
                </a:ln>
                <a:solidFill>
                  <a:schemeClr val="bg1">
                    <a:lumMod val="50000"/>
                  </a:schemeClr>
                </a:solidFill>
                <a:effectLst/>
                <a:uLnTx/>
                <a:uFillTx/>
                <a:latin typeface="Delivery"/>
                <a:ea typeface="+mn-ea"/>
                <a:cs typeface="+mn-cs"/>
              </a:rPr>
              <a:t>- Schematische Darstellung - </a:t>
            </a:r>
          </a:p>
          <a:p>
            <a:pPr marL="0" marR="0" lvl="0" indent="0" algn="ctr" defTabSz="685800" rtl="0" eaLnBrk="1" fontAlgn="auto" latinLnBrk="0" hangingPunct="1">
              <a:lnSpc>
                <a:spcPct val="110000"/>
              </a:lnSpc>
              <a:spcBef>
                <a:spcPts val="0"/>
              </a:spcBef>
              <a:spcAft>
                <a:spcPts val="500"/>
              </a:spcAft>
              <a:buClrTx/>
              <a:buSzTx/>
              <a:buFontTx/>
              <a:buNone/>
              <a:tabLst/>
              <a:defRPr/>
            </a:pPr>
            <a:endParaRPr kumimoji="0" lang="de-DE" sz="1000" b="1" i="1" u="none" strike="noStrike" kern="1200" cap="none" spc="0" normalizeH="0" baseline="0" noProof="0">
              <a:ln>
                <a:noFill/>
              </a:ln>
              <a:solidFill>
                <a:schemeClr val="bg1">
                  <a:lumMod val="50000"/>
                </a:schemeClr>
              </a:solidFill>
              <a:effectLst/>
              <a:uLnTx/>
              <a:uFillTx/>
              <a:latin typeface="Delivery"/>
              <a:ea typeface="+mn-ea"/>
              <a:cs typeface="+mn-cs"/>
            </a:endParaRPr>
          </a:p>
        </p:txBody>
      </p:sp>
      <p:sp>
        <p:nvSpPr>
          <p:cNvPr id="17" name="Oval 32">
            <a:extLst>
              <a:ext uri="{FF2B5EF4-FFF2-40B4-BE49-F238E27FC236}">
                <a16:creationId xmlns:a16="http://schemas.microsoft.com/office/drawing/2014/main" id="{5DDC1F99-B43D-A728-B53C-FBBA6C0943E5}"/>
              </a:ext>
            </a:extLst>
          </p:cNvPr>
          <p:cNvSpPr/>
          <p:nvPr/>
        </p:nvSpPr>
        <p:spPr>
          <a:xfrm>
            <a:off x="4617166" y="2246189"/>
            <a:ext cx="144000" cy="144000"/>
          </a:xfrm>
          <a:prstGeom prst="ellipse">
            <a:avLst/>
          </a:prstGeom>
          <a:solidFill>
            <a:srgbClr val="007C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prstClr val="black"/>
              </a:solidFill>
              <a:effectLst/>
              <a:uLnTx/>
              <a:uFillTx/>
              <a:latin typeface="Delivery"/>
              <a:ea typeface="+mn-ea"/>
              <a:cs typeface="+mn-cs"/>
            </a:endParaRPr>
          </a:p>
        </p:txBody>
      </p:sp>
      <p:sp>
        <p:nvSpPr>
          <p:cNvPr id="18" name="Oval 39">
            <a:extLst>
              <a:ext uri="{FF2B5EF4-FFF2-40B4-BE49-F238E27FC236}">
                <a16:creationId xmlns:a16="http://schemas.microsoft.com/office/drawing/2014/main" id="{3E45FBC4-1428-2FC6-EC06-5141E6A41F96}"/>
              </a:ext>
            </a:extLst>
          </p:cNvPr>
          <p:cNvSpPr/>
          <p:nvPr/>
        </p:nvSpPr>
        <p:spPr>
          <a:xfrm>
            <a:off x="4614127" y="100385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
        <p:nvSpPr>
          <p:cNvPr id="19" name="Rectangle 13">
            <a:extLst>
              <a:ext uri="{FF2B5EF4-FFF2-40B4-BE49-F238E27FC236}">
                <a16:creationId xmlns:a16="http://schemas.microsoft.com/office/drawing/2014/main" id="{1080B644-AEFB-0484-C6BF-ACE810CC2D7F}"/>
              </a:ext>
            </a:extLst>
          </p:cNvPr>
          <p:cNvSpPr/>
          <p:nvPr/>
        </p:nvSpPr>
        <p:spPr>
          <a:xfrm>
            <a:off x="666573" y="3089705"/>
            <a:ext cx="630123" cy="1055248"/>
          </a:xfrm>
          <a:prstGeom prst="rect">
            <a:avLst/>
          </a:prstGeom>
          <a:noFill/>
          <a:ln>
            <a:no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72000" tIns="144000" rIns="72000" bIns="0"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60</a:t>
            </a:r>
            <a:r>
              <a:rPr kumimoji="0" lang="de-DE" sz="2000" b="1" i="0" u="none" strike="noStrike" kern="1200" cap="none" spc="0" normalizeH="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 </a:t>
            </a:r>
            <a:r>
              <a:rPr kumimoji="0" lang="de-DE" sz="2000" b="1" i="0" u="none" strike="noStrike" kern="1200" cap="none" spc="0" normalizeH="0" baseline="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a:t>
            </a:r>
          </a:p>
        </p:txBody>
      </p:sp>
      <p:grpSp>
        <p:nvGrpSpPr>
          <p:cNvPr id="20" name="Grafik 473">
            <a:extLst>
              <a:ext uri="{FF2B5EF4-FFF2-40B4-BE49-F238E27FC236}">
                <a16:creationId xmlns:a16="http://schemas.microsoft.com/office/drawing/2014/main" id="{3CAB58EC-B200-D042-0FBD-6AEBEE8019CB}"/>
              </a:ext>
            </a:extLst>
          </p:cNvPr>
          <p:cNvGrpSpPr/>
          <p:nvPr/>
        </p:nvGrpSpPr>
        <p:grpSpPr>
          <a:xfrm>
            <a:off x="3169818" y="3257453"/>
            <a:ext cx="643599" cy="291598"/>
            <a:chOff x="-579172" y="793419"/>
            <a:chExt cx="2403240" cy="1088845"/>
          </a:xfrm>
        </p:grpSpPr>
        <p:grpSp>
          <p:nvGrpSpPr>
            <p:cNvPr id="21" name="Grafik 473">
              <a:extLst>
                <a:ext uri="{FF2B5EF4-FFF2-40B4-BE49-F238E27FC236}">
                  <a16:creationId xmlns:a16="http://schemas.microsoft.com/office/drawing/2014/main" id="{8B4C10C1-6312-3574-2000-4CB3EB453F1F}"/>
                </a:ext>
              </a:extLst>
            </p:cNvPr>
            <p:cNvGrpSpPr/>
            <p:nvPr/>
          </p:nvGrpSpPr>
          <p:grpSpPr>
            <a:xfrm>
              <a:off x="-565130" y="1554100"/>
              <a:ext cx="44305" cy="97741"/>
              <a:chOff x="-565130" y="1554100"/>
              <a:chExt cx="44305" cy="97741"/>
            </a:xfrm>
          </p:grpSpPr>
          <p:sp>
            <p:nvSpPr>
              <p:cNvPr id="93" name="Freihandform 332">
                <a:extLst>
                  <a:ext uri="{FF2B5EF4-FFF2-40B4-BE49-F238E27FC236}">
                    <a16:creationId xmlns:a16="http://schemas.microsoft.com/office/drawing/2014/main" id="{92BB20E4-BAFD-E5BB-9138-B34678DE8DA7}"/>
                  </a:ext>
                </a:extLst>
              </p:cNvPr>
              <p:cNvSpPr/>
              <p:nvPr/>
            </p:nvSpPr>
            <p:spPr>
              <a:xfrm>
                <a:off x="-565130" y="1554100"/>
                <a:ext cx="44305" cy="32580"/>
              </a:xfrm>
              <a:custGeom>
                <a:avLst/>
                <a:gdLst>
                  <a:gd name="connsiteX0" fmla="*/ 44306 w 44305"/>
                  <a:gd name="connsiteY0" fmla="*/ 32580 h 32580"/>
                  <a:gd name="connsiteX1" fmla="*/ 0 w 44305"/>
                  <a:gd name="connsiteY1" fmla="*/ 32580 h 32580"/>
                  <a:gd name="connsiteX2" fmla="*/ 0 w 44305"/>
                  <a:gd name="connsiteY2" fmla="*/ 0 h 32580"/>
                  <a:gd name="connsiteX3" fmla="*/ 44306 w 44305"/>
                  <a:gd name="connsiteY3" fmla="*/ 0 h 32580"/>
                  <a:gd name="connsiteX4" fmla="*/ 44306 w 44305"/>
                  <a:gd name="connsiteY4" fmla="*/ 32580 h 32580"/>
                  <a:gd name="connsiteX5" fmla="*/ 44306 w 44305"/>
                  <a:gd name="connsiteY5" fmla="*/ 32580 h 3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05" h="32580">
                    <a:moveTo>
                      <a:pt x="44306" y="32580"/>
                    </a:moveTo>
                    <a:lnTo>
                      <a:pt x="0" y="32580"/>
                    </a:lnTo>
                    <a:lnTo>
                      <a:pt x="0" y="0"/>
                    </a:lnTo>
                    <a:lnTo>
                      <a:pt x="44306" y="0"/>
                    </a:lnTo>
                    <a:lnTo>
                      <a:pt x="44306" y="32580"/>
                    </a:lnTo>
                    <a:lnTo>
                      <a:pt x="44306" y="3258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94" name="Freihandform 333">
                <a:extLst>
                  <a:ext uri="{FF2B5EF4-FFF2-40B4-BE49-F238E27FC236}">
                    <a16:creationId xmlns:a16="http://schemas.microsoft.com/office/drawing/2014/main" id="{E5CE6560-BC94-B97B-3C94-9747CD49D715}"/>
                  </a:ext>
                </a:extLst>
              </p:cNvPr>
              <p:cNvSpPr/>
              <p:nvPr/>
            </p:nvSpPr>
            <p:spPr>
              <a:xfrm>
                <a:off x="-565130" y="1586680"/>
                <a:ext cx="44305" cy="32580"/>
              </a:xfrm>
              <a:custGeom>
                <a:avLst/>
                <a:gdLst>
                  <a:gd name="connsiteX0" fmla="*/ 44306 w 44305"/>
                  <a:gd name="connsiteY0" fmla="*/ 32580 h 32580"/>
                  <a:gd name="connsiteX1" fmla="*/ 0 w 44305"/>
                  <a:gd name="connsiteY1" fmla="*/ 32580 h 32580"/>
                  <a:gd name="connsiteX2" fmla="*/ 0 w 44305"/>
                  <a:gd name="connsiteY2" fmla="*/ 0 h 32580"/>
                  <a:gd name="connsiteX3" fmla="*/ 44306 w 44305"/>
                  <a:gd name="connsiteY3" fmla="*/ 0 h 32580"/>
                  <a:gd name="connsiteX4" fmla="*/ 44306 w 44305"/>
                  <a:gd name="connsiteY4" fmla="*/ 32580 h 32580"/>
                  <a:gd name="connsiteX5" fmla="*/ 44306 w 44305"/>
                  <a:gd name="connsiteY5" fmla="*/ 32580 h 3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05" h="32580">
                    <a:moveTo>
                      <a:pt x="44306" y="32580"/>
                    </a:moveTo>
                    <a:lnTo>
                      <a:pt x="0" y="32580"/>
                    </a:lnTo>
                    <a:lnTo>
                      <a:pt x="0" y="0"/>
                    </a:lnTo>
                    <a:lnTo>
                      <a:pt x="44306" y="0"/>
                    </a:lnTo>
                    <a:lnTo>
                      <a:pt x="44306" y="32580"/>
                    </a:lnTo>
                    <a:lnTo>
                      <a:pt x="44306" y="32580"/>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95" name="Freihandform 334">
                <a:extLst>
                  <a:ext uri="{FF2B5EF4-FFF2-40B4-BE49-F238E27FC236}">
                    <a16:creationId xmlns:a16="http://schemas.microsoft.com/office/drawing/2014/main" id="{49A6952E-6EC6-7286-A9A1-57A82FAC11EC}"/>
                  </a:ext>
                </a:extLst>
              </p:cNvPr>
              <p:cNvSpPr/>
              <p:nvPr/>
            </p:nvSpPr>
            <p:spPr>
              <a:xfrm>
                <a:off x="-565130" y="1619260"/>
                <a:ext cx="44305" cy="32580"/>
              </a:xfrm>
              <a:custGeom>
                <a:avLst/>
                <a:gdLst>
                  <a:gd name="connsiteX0" fmla="*/ 44306 w 44305"/>
                  <a:gd name="connsiteY0" fmla="*/ 32580 h 32580"/>
                  <a:gd name="connsiteX1" fmla="*/ 0 w 44305"/>
                  <a:gd name="connsiteY1" fmla="*/ 32580 h 32580"/>
                  <a:gd name="connsiteX2" fmla="*/ 0 w 44305"/>
                  <a:gd name="connsiteY2" fmla="*/ 0 h 32580"/>
                  <a:gd name="connsiteX3" fmla="*/ 44306 w 44305"/>
                  <a:gd name="connsiteY3" fmla="*/ 0 h 32580"/>
                  <a:gd name="connsiteX4" fmla="*/ 44306 w 44305"/>
                  <a:gd name="connsiteY4" fmla="*/ 32580 h 32580"/>
                  <a:gd name="connsiteX5" fmla="*/ 44306 w 44305"/>
                  <a:gd name="connsiteY5" fmla="*/ 32580 h 3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05" h="32580">
                    <a:moveTo>
                      <a:pt x="44306" y="32580"/>
                    </a:moveTo>
                    <a:lnTo>
                      <a:pt x="0" y="32580"/>
                    </a:lnTo>
                    <a:lnTo>
                      <a:pt x="0" y="0"/>
                    </a:lnTo>
                    <a:lnTo>
                      <a:pt x="44306" y="0"/>
                    </a:lnTo>
                    <a:lnTo>
                      <a:pt x="44306" y="32580"/>
                    </a:lnTo>
                    <a:lnTo>
                      <a:pt x="44306" y="3258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sp>
          <p:nvSpPr>
            <p:cNvPr id="22" name="Freihandform 60">
              <a:extLst>
                <a:ext uri="{FF2B5EF4-FFF2-40B4-BE49-F238E27FC236}">
                  <a16:creationId xmlns:a16="http://schemas.microsoft.com/office/drawing/2014/main" id="{457B09E5-9DC9-3CAA-0A1F-40491313214A}"/>
                </a:ext>
              </a:extLst>
            </p:cNvPr>
            <p:cNvSpPr/>
            <p:nvPr/>
          </p:nvSpPr>
          <p:spPr>
            <a:xfrm>
              <a:off x="-552607" y="793419"/>
              <a:ext cx="1241325" cy="807899"/>
            </a:xfrm>
            <a:custGeom>
              <a:avLst/>
              <a:gdLst>
                <a:gd name="connsiteX0" fmla="*/ 0 w 1241325"/>
                <a:gd name="connsiteY0" fmla="*/ 0 h 807899"/>
                <a:gd name="connsiteX1" fmla="*/ 0 w 1241325"/>
                <a:gd name="connsiteY1" fmla="*/ 688343 h 807899"/>
                <a:gd name="connsiteX2" fmla="*/ 305303 w 1241325"/>
                <a:gd name="connsiteY2" fmla="*/ 688343 h 807899"/>
                <a:gd name="connsiteX3" fmla="*/ 305303 w 1241325"/>
                <a:gd name="connsiteY3" fmla="*/ 807899 h 807899"/>
                <a:gd name="connsiteX4" fmla="*/ 1241325 w 1241325"/>
                <a:gd name="connsiteY4" fmla="*/ 807899 h 807899"/>
                <a:gd name="connsiteX5" fmla="*/ 1241325 w 1241325"/>
                <a:gd name="connsiteY5" fmla="*/ 0 h 807899"/>
                <a:gd name="connsiteX6" fmla="*/ 0 w 1241325"/>
                <a:gd name="connsiteY6" fmla="*/ 0 h 807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325" h="807899">
                  <a:moveTo>
                    <a:pt x="0" y="0"/>
                  </a:moveTo>
                  <a:lnTo>
                    <a:pt x="0" y="688343"/>
                  </a:lnTo>
                  <a:lnTo>
                    <a:pt x="305303" y="688343"/>
                  </a:lnTo>
                  <a:lnTo>
                    <a:pt x="305303" y="807899"/>
                  </a:lnTo>
                  <a:lnTo>
                    <a:pt x="1241325" y="807899"/>
                  </a:lnTo>
                  <a:lnTo>
                    <a:pt x="1241325" y="0"/>
                  </a:lnTo>
                  <a:lnTo>
                    <a:pt x="0" y="0"/>
                  </a:lnTo>
                  <a:close/>
                </a:path>
              </a:pathLst>
            </a:custGeom>
            <a:solidFill>
              <a:srgbClr val="FFCC0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23" name="Freihandform 61">
              <a:extLst>
                <a:ext uri="{FF2B5EF4-FFF2-40B4-BE49-F238E27FC236}">
                  <a16:creationId xmlns:a16="http://schemas.microsoft.com/office/drawing/2014/main" id="{071AB4A0-C0A6-1BD8-8F4C-FDD58F09AE56}"/>
                </a:ext>
              </a:extLst>
            </p:cNvPr>
            <p:cNvSpPr/>
            <p:nvPr/>
          </p:nvSpPr>
          <p:spPr>
            <a:xfrm>
              <a:off x="-360678" y="1481762"/>
              <a:ext cx="2150497" cy="235239"/>
            </a:xfrm>
            <a:custGeom>
              <a:avLst/>
              <a:gdLst>
                <a:gd name="connsiteX0" fmla="*/ 42408 w 2150497"/>
                <a:gd name="connsiteY0" fmla="*/ 0 h 235239"/>
                <a:gd name="connsiteX1" fmla="*/ 1224533 w 2150497"/>
                <a:gd name="connsiteY1" fmla="*/ 0 h 235239"/>
                <a:gd name="connsiteX2" fmla="*/ 1288193 w 2150497"/>
                <a:gd name="connsiteY2" fmla="*/ 31636 h 235239"/>
                <a:gd name="connsiteX3" fmla="*/ 2150498 w 2150497"/>
                <a:gd name="connsiteY3" fmla="*/ 31636 h 235239"/>
                <a:gd name="connsiteX4" fmla="*/ 2150498 w 2150497"/>
                <a:gd name="connsiteY4" fmla="*/ 235240 h 235239"/>
                <a:gd name="connsiteX5" fmla="*/ 2084940 w 2150497"/>
                <a:gd name="connsiteY5" fmla="*/ 235240 h 235239"/>
                <a:gd name="connsiteX6" fmla="*/ 2060084 w 2150497"/>
                <a:gd name="connsiteY6" fmla="*/ 212953 h 235239"/>
                <a:gd name="connsiteX7" fmla="*/ 42408 w 2150497"/>
                <a:gd name="connsiteY7" fmla="*/ 212953 h 235239"/>
                <a:gd name="connsiteX8" fmla="*/ 0 w 2150497"/>
                <a:gd name="connsiteY8" fmla="*/ 0 h 235239"/>
                <a:gd name="connsiteX9" fmla="*/ 42408 w 2150497"/>
                <a:gd name="connsiteY9" fmla="*/ 0 h 23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0497" h="235239">
                  <a:moveTo>
                    <a:pt x="42408" y="0"/>
                  </a:moveTo>
                  <a:lnTo>
                    <a:pt x="1224533" y="0"/>
                  </a:lnTo>
                  <a:lnTo>
                    <a:pt x="1288193" y="31636"/>
                  </a:lnTo>
                  <a:lnTo>
                    <a:pt x="2150498" y="31636"/>
                  </a:lnTo>
                  <a:lnTo>
                    <a:pt x="2150498" y="235240"/>
                  </a:lnTo>
                  <a:lnTo>
                    <a:pt x="2084940" y="235240"/>
                  </a:lnTo>
                  <a:lnTo>
                    <a:pt x="2060084" y="212953"/>
                  </a:lnTo>
                  <a:lnTo>
                    <a:pt x="42408" y="212953"/>
                  </a:lnTo>
                  <a:lnTo>
                    <a:pt x="0" y="0"/>
                  </a:lnTo>
                  <a:lnTo>
                    <a:pt x="42408" y="0"/>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24" name="Freihandform 62">
              <a:extLst>
                <a:ext uri="{FF2B5EF4-FFF2-40B4-BE49-F238E27FC236}">
                  <a16:creationId xmlns:a16="http://schemas.microsoft.com/office/drawing/2014/main" id="{059A87BD-3746-6FCD-AE68-266578DBAB2A}"/>
                </a:ext>
              </a:extLst>
            </p:cNvPr>
            <p:cNvSpPr/>
            <p:nvPr/>
          </p:nvSpPr>
          <p:spPr>
            <a:xfrm>
              <a:off x="1431482" y="1501027"/>
              <a:ext cx="392586" cy="147886"/>
            </a:xfrm>
            <a:custGeom>
              <a:avLst/>
              <a:gdLst>
                <a:gd name="connsiteX0" fmla="*/ 326934 w 392586"/>
                <a:gd name="connsiteY0" fmla="*/ 0 h 147886"/>
                <a:gd name="connsiteX1" fmla="*/ 392587 w 392586"/>
                <a:gd name="connsiteY1" fmla="*/ 65350 h 147886"/>
                <a:gd name="connsiteX2" fmla="*/ 392587 w 392586"/>
                <a:gd name="connsiteY2" fmla="*/ 82537 h 147886"/>
                <a:gd name="connsiteX3" fmla="*/ 326934 w 392586"/>
                <a:gd name="connsiteY3" fmla="*/ 147887 h 147886"/>
                <a:gd name="connsiteX4" fmla="*/ 65653 w 392586"/>
                <a:gd name="connsiteY4" fmla="*/ 147887 h 147886"/>
                <a:gd name="connsiteX5" fmla="*/ 0 w 392586"/>
                <a:gd name="connsiteY5" fmla="*/ 82537 h 147886"/>
                <a:gd name="connsiteX6" fmla="*/ 0 w 392586"/>
                <a:gd name="connsiteY6" fmla="*/ 65350 h 147886"/>
                <a:gd name="connsiteX7" fmla="*/ 65653 w 392586"/>
                <a:gd name="connsiteY7" fmla="*/ 0 h 14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586" h="147886">
                  <a:moveTo>
                    <a:pt x="326934" y="0"/>
                  </a:moveTo>
                  <a:cubicBezTo>
                    <a:pt x="363193" y="0"/>
                    <a:pt x="392587" y="29258"/>
                    <a:pt x="392587" y="65350"/>
                  </a:cubicBezTo>
                  <a:lnTo>
                    <a:pt x="392587" y="82537"/>
                  </a:lnTo>
                  <a:cubicBezTo>
                    <a:pt x="392587" y="118629"/>
                    <a:pt x="363193" y="147887"/>
                    <a:pt x="326934" y="147887"/>
                  </a:cubicBezTo>
                  <a:lnTo>
                    <a:pt x="65653" y="147887"/>
                  </a:lnTo>
                  <a:cubicBezTo>
                    <a:pt x="29394" y="147887"/>
                    <a:pt x="0" y="118629"/>
                    <a:pt x="0" y="82537"/>
                  </a:cubicBezTo>
                  <a:lnTo>
                    <a:pt x="0" y="65350"/>
                  </a:lnTo>
                  <a:cubicBezTo>
                    <a:pt x="0" y="29258"/>
                    <a:pt x="29394" y="0"/>
                    <a:pt x="65653" y="0"/>
                  </a:cubicBezTo>
                  <a:close/>
                </a:path>
              </a:pathLst>
            </a:custGeom>
            <a:solidFill>
              <a:srgbClr val="7A7A79"/>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25" name="Freihandform 127">
              <a:extLst>
                <a:ext uri="{FF2B5EF4-FFF2-40B4-BE49-F238E27FC236}">
                  <a16:creationId xmlns:a16="http://schemas.microsoft.com/office/drawing/2014/main" id="{4A7048E1-C1D7-FD96-0802-05864FF87C60}"/>
                </a:ext>
              </a:extLst>
            </p:cNvPr>
            <p:cNvSpPr/>
            <p:nvPr/>
          </p:nvSpPr>
          <p:spPr>
            <a:xfrm>
              <a:off x="1537551" y="1617183"/>
              <a:ext cx="275892" cy="63366"/>
            </a:xfrm>
            <a:custGeom>
              <a:avLst/>
              <a:gdLst>
                <a:gd name="connsiteX0" fmla="*/ 0 w 275892"/>
                <a:gd name="connsiteY0" fmla="*/ 0 h 63366"/>
                <a:gd name="connsiteX1" fmla="*/ 275892 w 275892"/>
                <a:gd name="connsiteY1" fmla="*/ 0 h 63366"/>
                <a:gd name="connsiteX2" fmla="*/ 275892 w 275892"/>
                <a:gd name="connsiteY2" fmla="*/ 63367 h 63366"/>
                <a:gd name="connsiteX3" fmla="*/ 0 w 275892"/>
                <a:gd name="connsiteY3" fmla="*/ 63367 h 63366"/>
              </a:gdLst>
              <a:ahLst/>
              <a:cxnLst>
                <a:cxn ang="0">
                  <a:pos x="connsiteX0" y="connsiteY0"/>
                </a:cxn>
                <a:cxn ang="0">
                  <a:pos x="connsiteX1" y="connsiteY1"/>
                </a:cxn>
                <a:cxn ang="0">
                  <a:pos x="connsiteX2" y="connsiteY2"/>
                </a:cxn>
                <a:cxn ang="0">
                  <a:pos x="connsiteX3" y="connsiteY3"/>
                </a:cxn>
              </a:cxnLst>
              <a:rect l="l" t="t" r="r" b="b"/>
              <a:pathLst>
                <a:path w="275892" h="63366">
                  <a:moveTo>
                    <a:pt x="0" y="0"/>
                  </a:moveTo>
                  <a:lnTo>
                    <a:pt x="275892" y="0"/>
                  </a:lnTo>
                  <a:lnTo>
                    <a:pt x="275892" y="63367"/>
                  </a:lnTo>
                  <a:lnTo>
                    <a:pt x="0" y="63367"/>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26" name="Freihandform 128">
              <a:extLst>
                <a:ext uri="{FF2B5EF4-FFF2-40B4-BE49-F238E27FC236}">
                  <a16:creationId xmlns:a16="http://schemas.microsoft.com/office/drawing/2014/main" id="{3E2E0119-7E7A-2D4A-71F2-21485B0E6D0E}"/>
                </a:ext>
              </a:extLst>
            </p:cNvPr>
            <p:cNvSpPr/>
            <p:nvPr/>
          </p:nvSpPr>
          <p:spPr>
            <a:xfrm>
              <a:off x="1537551" y="1617183"/>
              <a:ext cx="275892" cy="31730"/>
            </a:xfrm>
            <a:custGeom>
              <a:avLst/>
              <a:gdLst>
                <a:gd name="connsiteX0" fmla="*/ 0 w 275892"/>
                <a:gd name="connsiteY0" fmla="*/ 0 h 31730"/>
                <a:gd name="connsiteX1" fmla="*/ 275892 w 275892"/>
                <a:gd name="connsiteY1" fmla="*/ 0 h 31730"/>
                <a:gd name="connsiteX2" fmla="*/ 275892 w 275892"/>
                <a:gd name="connsiteY2" fmla="*/ 31730 h 31730"/>
                <a:gd name="connsiteX3" fmla="*/ 0 w 275892"/>
                <a:gd name="connsiteY3" fmla="*/ 31730 h 31730"/>
              </a:gdLst>
              <a:ahLst/>
              <a:cxnLst>
                <a:cxn ang="0">
                  <a:pos x="connsiteX0" y="connsiteY0"/>
                </a:cxn>
                <a:cxn ang="0">
                  <a:pos x="connsiteX1" y="connsiteY1"/>
                </a:cxn>
                <a:cxn ang="0">
                  <a:pos x="connsiteX2" y="connsiteY2"/>
                </a:cxn>
                <a:cxn ang="0">
                  <a:pos x="connsiteX3" y="connsiteY3"/>
                </a:cxn>
              </a:cxnLst>
              <a:rect l="l" t="t" r="r" b="b"/>
              <a:pathLst>
                <a:path w="275892" h="31730">
                  <a:moveTo>
                    <a:pt x="0" y="0"/>
                  </a:moveTo>
                  <a:lnTo>
                    <a:pt x="275892" y="0"/>
                  </a:lnTo>
                  <a:lnTo>
                    <a:pt x="275892" y="31730"/>
                  </a:lnTo>
                  <a:lnTo>
                    <a:pt x="0" y="31730"/>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27" name="Freihandform 211">
              <a:extLst>
                <a:ext uri="{FF2B5EF4-FFF2-40B4-BE49-F238E27FC236}">
                  <a16:creationId xmlns:a16="http://schemas.microsoft.com/office/drawing/2014/main" id="{09260F25-BBC9-07C5-A718-39A52243F2F3}"/>
                </a:ext>
              </a:extLst>
            </p:cNvPr>
            <p:cNvSpPr/>
            <p:nvPr/>
          </p:nvSpPr>
          <p:spPr>
            <a:xfrm>
              <a:off x="678186" y="915996"/>
              <a:ext cx="1117325" cy="627148"/>
            </a:xfrm>
            <a:custGeom>
              <a:avLst/>
              <a:gdLst>
                <a:gd name="connsiteX0" fmla="*/ 800068 w 1117325"/>
                <a:gd name="connsiteY0" fmla="*/ 322971 h 627148"/>
                <a:gd name="connsiteX1" fmla="*/ 606811 w 1117325"/>
                <a:gd name="connsiteY1" fmla="*/ 208609 h 627148"/>
                <a:gd name="connsiteX2" fmla="*/ 254925 w 1117325"/>
                <a:gd name="connsiteY2" fmla="*/ 0 h 627148"/>
                <a:gd name="connsiteX3" fmla="*/ 0 w 1117325"/>
                <a:gd name="connsiteY3" fmla="*/ 0 h 627148"/>
                <a:gd name="connsiteX4" fmla="*/ 0 w 1117325"/>
                <a:gd name="connsiteY4" fmla="*/ 570204 h 627148"/>
                <a:gd name="connsiteX5" fmla="*/ 190980 w 1117325"/>
                <a:gd name="connsiteY5" fmla="*/ 614778 h 627148"/>
                <a:gd name="connsiteX6" fmla="*/ 1117326 w 1117325"/>
                <a:gd name="connsiteY6" fmla="*/ 627149 h 627148"/>
                <a:gd name="connsiteX7" fmla="*/ 1029188 w 1117325"/>
                <a:gd name="connsiteY7" fmla="*/ 410607 h 627148"/>
                <a:gd name="connsiteX8" fmla="*/ 800068 w 1117325"/>
                <a:gd name="connsiteY8" fmla="*/ 322782 h 62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325" h="627148">
                  <a:moveTo>
                    <a:pt x="800068" y="322971"/>
                  </a:moveTo>
                  <a:cubicBezTo>
                    <a:pt x="724075" y="317021"/>
                    <a:pt x="659181" y="247233"/>
                    <a:pt x="606811" y="208609"/>
                  </a:cubicBezTo>
                  <a:cubicBezTo>
                    <a:pt x="531482" y="152986"/>
                    <a:pt x="370102" y="0"/>
                    <a:pt x="254925" y="0"/>
                  </a:cubicBezTo>
                  <a:lnTo>
                    <a:pt x="0" y="0"/>
                  </a:lnTo>
                  <a:lnTo>
                    <a:pt x="0" y="570204"/>
                  </a:lnTo>
                  <a:lnTo>
                    <a:pt x="190980" y="614778"/>
                  </a:lnTo>
                  <a:lnTo>
                    <a:pt x="1117326" y="627149"/>
                  </a:lnTo>
                  <a:lnTo>
                    <a:pt x="1029188" y="410607"/>
                  </a:lnTo>
                  <a:cubicBezTo>
                    <a:pt x="1013249" y="347241"/>
                    <a:pt x="976154" y="336664"/>
                    <a:pt x="800068" y="322782"/>
                  </a:cubicBezTo>
                  <a:close/>
                </a:path>
              </a:pathLst>
            </a:custGeom>
            <a:solidFill>
              <a:srgbClr val="FFCC0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nvGrpSpPr>
            <p:cNvPr id="28" name="Grafik 473">
              <a:extLst>
                <a:ext uri="{FF2B5EF4-FFF2-40B4-BE49-F238E27FC236}">
                  <a16:creationId xmlns:a16="http://schemas.microsoft.com/office/drawing/2014/main" id="{2820CF87-CC63-3F94-EDF0-13EEEEB89C2D}"/>
                </a:ext>
              </a:extLst>
            </p:cNvPr>
            <p:cNvGrpSpPr/>
            <p:nvPr/>
          </p:nvGrpSpPr>
          <p:grpSpPr>
            <a:xfrm>
              <a:off x="763098" y="1025636"/>
              <a:ext cx="603395" cy="211347"/>
              <a:chOff x="763098" y="1025636"/>
              <a:chExt cx="603395" cy="211347"/>
            </a:xfrm>
          </p:grpSpPr>
          <p:sp>
            <p:nvSpPr>
              <p:cNvPr id="91" name="Freihandform 330">
                <a:extLst>
                  <a:ext uri="{FF2B5EF4-FFF2-40B4-BE49-F238E27FC236}">
                    <a16:creationId xmlns:a16="http://schemas.microsoft.com/office/drawing/2014/main" id="{D35DA62D-53CD-14EB-C9FF-D860C5AC0CB0}"/>
                  </a:ext>
                </a:extLst>
              </p:cNvPr>
              <p:cNvSpPr/>
              <p:nvPr/>
            </p:nvSpPr>
            <p:spPr>
              <a:xfrm>
                <a:off x="772775" y="1034324"/>
                <a:ext cx="566869" cy="194065"/>
              </a:xfrm>
              <a:custGeom>
                <a:avLst/>
                <a:gdLst>
                  <a:gd name="connsiteX0" fmla="*/ 24383 w 566869"/>
                  <a:gd name="connsiteY0" fmla="*/ 194066 h 194065"/>
                  <a:gd name="connsiteX1" fmla="*/ 0 w 566869"/>
                  <a:gd name="connsiteY1" fmla="*/ 0 h 194065"/>
                  <a:gd name="connsiteX2" fmla="*/ 321242 w 566869"/>
                  <a:gd name="connsiteY2" fmla="*/ 0 h 194065"/>
                  <a:gd name="connsiteX3" fmla="*/ 430821 w 566869"/>
                  <a:gd name="connsiteY3" fmla="*/ 84048 h 194065"/>
                  <a:gd name="connsiteX4" fmla="*/ 485088 w 566869"/>
                  <a:gd name="connsiteY4" fmla="*/ 126827 h 194065"/>
                  <a:gd name="connsiteX5" fmla="*/ 521520 w 566869"/>
                  <a:gd name="connsiteY5" fmla="*/ 156764 h 194065"/>
                  <a:gd name="connsiteX6" fmla="*/ 566869 w 566869"/>
                  <a:gd name="connsiteY6" fmla="*/ 194066 h 194065"/>
                  <a:gd name="connsiteX7" fmla="*/ 24477 w 566869"/>
                  <a:gd name="connsiteY7" fmla="*/ 194066 h 19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869" h="194065">
                    <a:moveTo>
                      <a:pt x="24383" y="194066"/>
                    </a:moveTo>
                    <a:lnTo>
                      <a:pt x="0" y="0"/>
                    </a:lnTo>
                    <a:lnTo>
                      <a:pt x="321242" y="0"/>
                    </a:lnTo>
                    <a:cubicBezTo>
                      <a:pt x="362037" y="28425"/>
                      <a:pt x="401694" y="60533"/>
                      <a:pt x="430821" y="84048"/>
                    </a:cubicBezTo>
                    <a:cubicBezTo>
                      <a:pt x="451977" y="101141"/>
                      <a:pt x="469719" y="115495"/>
                      <a:pt x="485088" y="126827"/>
                    </a:cubicBezTo>
                    <a:cubicBezTo>
                      <a:pt x="496094" y="134949"/>
                      <a:pt x="508427" y="145526"/>
                      <a:pt x="521520" y="156764"/>
                    </a:cubicBezTo>
                    <a:cubicBezTo>
                      <a:pt x="535466" y="168663"/>
                      <a:pt x="550551" y="181695"/>
                      <a:pt x="566869" y="194066"/>
                    </a:cubicBezTo>
                    <a:lnTo>
                      <a:pt x="24477" y="194066"/>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92" name="Freihandform 331">
                <a:extLst>
                  <a:ext uri="{FF2B5EF4-FFF2-40B4-BE49-F238E27FC236}">
                    <a16:creationId xmlns:a16="http://schemas.microsoft.com/office/drawing/2014/main" id="{EFE6A233-EB5B-7726-C52C-1464A8629A2F}"/>
                  </a:ext>
                </a:extLst>
              </p:cNvPr>
              <p:cNvSpPr/>
              <p:nvPr/>
            </p:nvSpPr>
            <p:spPr>
              <a:xfrm>
                <a:off x="763098" y="1025636"/>
                <a:ext cx="603395" cy="211347"/>
              </a:xfrm>
              <a:custGeom>
                <a:avLst/>
                <a:gdLst>
                  <a:gd name="connsiteX0" fmla="*/ 328168 w 603395"/>
                  <a:gd name="connsiteY0" fmla="*/ 17282 h 211347"/>
                  <a:gd name="connsiteX1" fmla="*/ 435185 w 603395"/>
                  <a:gd name="connsiteY1" fmla="*/ 99535 h 211347"/>
                  <a:gd name="connsiteX2" fmla="*/ 489642 w 603395"/>
                  <a:gd name="connsiteY2" fmla="*/ 142409 h 211347"/>
                  <a:gd name="connsiteX3" fmla="*/ 525789 w 603395"/>
                  <a:gd name="connsiteY3" fmla="*/ 172062 h 211347"/>
                  <a:gd name="connsiteX4" fmla="*/ 551879 w 603395"/>
                  <a:gd name="connsiteY4" fmla="*/ 194160 h 211347"/>
                  <a:gd name="connsiteX5" fmla="*/ 41744 w 603395"/>
                  <a:gd name="connsiteY5" fmla="*/ 194160 h 211347"/>
                  <a:gd name="connsiteX6" fmla="*/ 19544 w 603395"/>
                  <a:gd name="connsiteY6" fmla="*/ 17187 h 211347"/>
                  <a:gd name="connsiteX7" fmla="*/ 328262 w 603395"/>
                  <a:gd name="connsiteY7" fmla="*/ 17187 h 211347"/>
                  <a:gd name="connsiteX8" fmla="*/ 333670 w 603395"/>
                  <a:gd name="connsiteY8" fmla="*/ 94 h 211347"/>
                  <a:gd name="connsiteX9" fmla="*/ 0 w 603395"/>
                  <a:gd name="connsiteY9" fmla="*/ 94 h 211347"/>
                  <a:gd name="connsiteX10" fmla="*/ 26565 w 603395"/>
                  <a:gd name="connsiteY10" fmla="*/ 211348 h 211347"/>
                  <a:gd name="connsiteX11" fmla="*/ 603396 w 603395"/>
                  <a:gd name="connsiteY11" fmla="*/ 211348 h 211347"/>
                  <a:gd name="connsiteX12" fmla="*/ 537079 w 603395"/>
                  <a:gd name="connsiteY12" fmla="*/ 159124 h 211347"/>
                  <a:gd name="connsiteX13" fmla="*/ 499983 w 603395"/>
                  <a:gd name="connsiteY13" fmla="*/ 128622 h 211347"/>
                  <a:gd name="connsiteX14" fmla="*/ 446001 w 603395"/>
                  <a:gd name="connsiteY14" fmla="*/ 86031 h 211347"/>
                  <a:gd name="connsiteX15" fmla="*/ 333765 w 603395"/>
                  <a:gd name="connsiteY15" fmla="*/ 0 h 211347"/>
                  <a:gd name="connsiteX16" fmla="*/ 333765 w 603395"/>
                  <a:gd name="connsiteY16" fmla="*/ 0 h 2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3395" h="211347">
                    <a:moveTo>
                      <a:pt x="328168" y="17282"/>
                    </a:moveTo>
                    <a:cubicBezTo>
                      <a:pt x="367825" y="45140"/>
                      <a:pt x="406533" y="76399"/>
                      <a:pt x="435185" y="99535"/>
                    </a:cubicBezTo>
                    <a:cubicBezTo>
                      <a:pt x="456057" y="116439"/>
                      <a:pt x="473988" y="130983"/>
                      <a:pt x="489642" y="142409"/>
                    </a:cubicBezTo>
                    <a:cubicBezTo>
                      <a:pt x="500363" y="150342"/>
                      <a:pt x="512602" y="160824"/>
                      <a:pt x="525789" y="172062"/>
                    </a:cubicBezTo>
                    <a:cubicBezTo>
                      <a:pt x="534043" y="179145"/>
                      <a:pt x="542771" y="186605"/>
                      <a:pt x="551879" y="194160"/>
                    </a:cubicBezTo>
                    <a:lnTo>
                      <a:pt x="41744" y="194160"/>
                    </a:lnTo>
                    <a:lnTo>
                      <a:pt x="19544" y="17187"/>
                    </a:lnTo>
                    <a:lnTo>
                      <a:pt x="328262" y="17187"/>
                    </a:lnTo>
                    <a:moveTo>
                      <a:pt x="333670" y="94"/>
                    </a:moveTo>
                    <a:lnTo>
                      <a:pt x="0" y="94"/>
                    </a:lnTo>
                    <a:lnTo>
                      <a:pt x="26565" y="211348"/>
                    </a:lnTo>
                    <a:lnTo>
                      <a:pt x="603396" y="211348"/>
                    </a:lnTo>
                    <a:cubicBezTo>
                      <a:pt x="579203" y="195199"/>
                      <a:pt x="557097" y="176312"/>
                      <a:pt x="537079" y="159124"/>
                    </a:cubicBezTo>
                    <a:cubicBezTo>
                      <a:pt x="523797" y="147698"/>
                      <a:pt x="511273" y="136932"/>
                      <a:pt x="499983" y="128622"/>
                    </a:cubicBezTo>
                    <a:cubicBezTo>
                      <a:pt x="484709" y="117384"/>
                      <a:pt x="466778" y="102841"/>
                      <a:pt x="446001" y="86031"/>
                    </a:cubicBezTo>
                    <a:cubicBezTo>
                      <a:pt x="415072" y="61006"/>
                      <a:pt x="375320" y="28803"/>
                      <a:pt x="333765" y="0"/>
                    </a:cubicBezTo>
                    <a:lnTo>
                      <a:pt x="333765" y="0"/>
                    </a:lnTo>
                    <a:close/>
                  </a:path>
                </a:pathLst>
              </a:custGeom>
              <a:solidFill>
                <a:srgbClr val="00000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sp>
          <p:nvSpPr>
            <p:cNvPr id="29" name="Freihandform 213">
              <a:extLst>
                <a:ext uri="{FF2B5EF4-FFF2-40B4-BE49-F238E27FC236}">
                  <a16:creationId xmlns:a16="http://schemas.microsoft.com/office/drawing/2014/main" id="{468F5A60-0617-68A2-8ABC-757365677BF3}"/>
                </a:ext>
              </a:extLst>
            </p:cNvPr>
            <p:cNvSpPr/>
            <p:nvPr/>
          </p:nvSpPr>
          <p:spPr>
            <a:xfrm>
              <a:off x="1096673" y="1025825"/>
              <a:ext cx="360044" cy="211253"/>
            </a:xfrm>
            <a:custGeom>
              <a:avLst/>
              <a:gdLst>
                <a:gd name="connsiteX0" fmla="*/ 166218 w 360044"/>
                <a:gd name="connsiteY0" fmla="*/ 128527 h 211253"/>
                <a:gd name="connsiteX1" fmla="*/ 203314 w 360044"/>
                <a:gd name="connsiteY1" fmla="*/ 159030 h 211253"/>
                <a:gd name="connsiteX2" fmla="*/ 269631 w 360044"/>
                <a:gd name="connsiteY2" fmla="*/ 211253 h 211253"/>
                <a:gd name="connsiteX3" fmla="*/ 360045 w 360044"/>
                <a:gd name="connsiteY3" fmla="*/ 211253 h 211253"/>
                <a:gd name="connsiteX4" fmla="*/ 188324 w 360044"/>
                <a:gd name="connsiteY4" fmla="*/ 98874 h 211253"/>
                <a:gd name="connsiteX5" fmla="*/ 63186 w 360044"/>
                <a:gd name="connsiteY5" fmla="*/ 0 h 211253"/>
                <a:gd name="connsiteX6" fmla="*/ 0 w 360044"/>
                <a:gd name="connsiteY6" fmla="*/ 0 h 211253"/>
                <a:gd name="connsiteX7" fmla="*/ 112330 w 360044"/>
                <a:gd name="connsiteY7" fmla="*/ 86031 h 211253"/>
                <a:gd name="connsiteX8" fmla="*/ 166313 w 360044"/>
                <a:gd name="connsiteY8" fmla="*/ 128622 h 21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4" h="211253">
                  <a:moveTo>
                    <a:pt x="166218" y="128527"/>
                  </a:moveTo>
                  <a:cubicBezTo>
                    <a:pt x="177508" y="136838"/>
                    <a:pt x="190032" y="147603"/>
                    <a:pt x="203314" y="159030"/>
                  </a:cubicBezTo>
                  <a:cubicBezTo>
                    <a:pt x="223332" y="176217"/>
                    <a:pt x="245438" y="195105"/>
                    <a:pt x="269631" y="211253"/>
                  </a:cubicBezTo>
                  <a:lnTo>
                    <a:pt x="360045" y="211253"/>
                  </a:lnTo>
                  <a:cubicBezTo>
                    <a:pt x="293064" y="199071"/>
                    <a:pt x="235666" y="133816"/>
                    <a:pt x="188324" y="98874"/>
                  </a:cubicBezTo>
                  <a:cubicBezTo>
                    <a:pt x="157775" y="76399"/>
                    <a:pt x="113184" y="37869"/>
                    <a:pt x="63186" y="0"/>
                  </a:cubicBezTo>
                  <a:lnTo>
                    <a:pt x="0" y="0"/>
                  </a:lnTo>
                  <a:cubicBezTo>
                    <a:pt x="41555" y="28803"/>
                    <a:pt x="81307" y="61006"/>
                    <a:pt x="112330" y="86031"/>
                  </a:cubicBezTo>
                  <a:cubicBezTo>
                    <a:pt x="133108" y="102841"/>
                    <a:pt x="150944" y="117289"/>
                    <a:pt x="166313" y="128622"/>
                  </a:cubicBezTo>
                  <a:close/>
                </a:path>
              </a:pathLst>
            </a:custGeom>
            <a:solidFill>
              <a:srgbClr val="00000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0" name="Freihandform 219">
              <a:extLst>
                <a:ext uri="{FF2B5EF4-FFF2-40B4-BE49-F238E27FC236}">
                  <a16:creationId xmlns:a16="http://schemas.microsoft.com/office/drawing/2014/main" id="{0198AAB5-E016-03FD-D36D-8AE07FB68432}"/>
                </a:ext>
              </a:extLst>
            </p:cNvPr>
            <p:cNvSpPr/>
            <p:nvPr/>
          </p:nvSpPr>
          <p:spPr>
            <a:xfrm>
              <a:off x="-81465" y="1687160"/>
              <a:ext cx="24382" cy="24175"/>
            </a:xfrm>
            <a:custGeom>
              <a:avLst/>
              <a:gdLst>
                <a:gd name="connsiteX0" fmla="*/ 24382 w 24382"/>
                <a:gd name="connsiteY0" fmla="*/ 12088 h 24175"/>
                <a:gd name="connsiteX1" fmla="*/ 12144 w 24382"/>
                <a:gd name="connsiteY1" fmla="*/ 0 h 24175"/>
                <a:gd name="connsiteX2" fmla="*/ 0 w 24382"/>
                <a:gd name="connsiteY2" fmla="*/ 12088 h 24175"/>
                <a:gd name="connsiteX3" fmla="*/ 12144 w 24382"/>
                <a:gd name="connsiteY3" fmla="*/ 24176 h 24175"/>
                <a:gd name="connsiteX4" fmla="*/ 24382 w 24382"/>
                <a:gd name="connsiteY4" fmla="*/ 12088 h 24175"/>
                <a:gd name="connsiteX5" fmla="*/ 24382 w 24382"/>
                <a:gd name="connsiteY5" fmla="*/ 12088 h 2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2" h="24175">
                  <a:moveTo>
                    <a:pt x="24382" y="12088"/>
                  </a:moveTo>
                  <a:cubicBezTo>
                    <a:pt x="24382" y="5383"/>
                    <a:pt x="18880" y="0"/>
                    <a:pt x="12144" y="0"/>
                  </a:cubicBezTo>
                  <a:cubicBezTo>
                    <a:pt x="5408" y="0"/>
                    <a:pt x="0" y="5383"/>
                    <a:pt x="0" y="12088"/>
                  </a:cubicBezTo>
                  <a:cubicBezTo>
                    <a:pt x="0" y="18793"/>
                    <a:pt x="5408" y="24176"/>
                    <a:pt x="12144" y="24176"/>
                  </a:cubicBezTo>
                  <a:cubicBezTo>
                    <a:pt x="18880" y="24176"/>
                    <a:pt x="24382" y="18698"/>
                    <a:pt x="24382" y="12088"/>
                  </a:cubicBezTo>
                  <a:lnTo>
                    <a:pt x="24382" y="12088"/>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1" name="Freihandform 221">
              <a:extLst>
                <a:ext uri="{FF2B5EF4-FFF2-40B4-BE49-F238E27FC236}">
                  <a16:creationId xmlns:a16="http://schemas.microsoft.com/office/drawing/2014/main" id="{9219DFB8-88EC-4518-E540-BB0A95D1217D}"/>
                </a:ext>
              </a:extLst>
            </p:cNvPr>
            <p:cNvSpPr/>
            <p:nvPr/>
          </p:nvSpPr>
          <p:spPr>
            <a:xfrm>
              <a:off x="-105881" y="1704786"/>
              <a:ext cx="24354" cy="24242"/>
            </a:xfrm>
            <a:custGeom>
              <a:avLst/>
              <a:gdLst>
                <a:gd name="connsiteX0" fmla="*/ 15972 w 24354"/>
                <a:gd name="connsiteY0" fmla="*/ 600 h 24242"/>
                <a:gd name="connsiteX1" fmla="*/ 603 w 24354"/>
                <a:gd name="connsiteY1" fmla="*/ 8344 h 24242"/>
                <a:gd name="connsiteX2" fmla="*/ 8383 w 24354"/>
                <a:gd name="connsiteY2" fmla="*/ 23643 h 24242"/>
                <a:gd name="connsiteX3" fmla="*/ 23752 w 24354"/>
                <a:gd name="connsiteY3" fmla="*/ 15899 h 24242"/>
                <a:gd name="connsiteX4" fmla="*/ 15878 w 24354"/>
                <a:gd name="connsiteY4" fmla="*/ 600 h 24242"/>
                <a:gd name="connsiteX5" fmla="*/ 15878 w 24354"/>
                <a:gd name="connsiteY5" fmla="*/ 600 h 2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4" h="24242">
                  <a:moveTo>
                    <a:pt x="15972" y="600"/>
                  </a:moveTo>
                  <a:cubicBezTo>
                    <a:pt x="9521" y="-1477"/>
                    <a:pt x="2690" y="2017"/>
                    <a:pt x="603" y="8344"/>
                  </a:cubicBezTo>
                  <a:cubicBezTo>
                    <a:pt x="-1484" y="14671"/>
                    <a:pt x="2026" y="21565"/>
                    <a:pt x="8383" y="23643"/>
                  </a:cubicBezTo>
                  <a:cubicBezTo>
                    <a:pt x="14834" y="25720"/>
                    <a:pt x="21665" y="22226"/>
                    <a:pt x="23752" y="15899"/>
                  </a:cubicBezTo>
                  <a:cubicBezTo>
                    <a:pt x="25839" y="9571"/>
                    <a:pt x="22329" y="2678"/>
                    <a:pt x="15878" y="600"/>
                  </a:cubicBezTo>
                  <a:lnTo>
                    <a:pt x="15878" y="600"/>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2" name="Freihandform 222">
              <a:extLst>
                <a:ext uri="{FF2B5EF4-FFF2-40B4-BE49-F238E27FC236}">
                  <a16:creationId xmlns:a16="http://schemas.microsoft.com/office/drawing/2014/main" id="{73B94E96-7E7D-4305-F00C-9C6B1582B317}"/>
                </a:ext>
              </a:extLst>
            </p:cNvPr>
            <p:cNvSpPr/>
            <p:nvPr/>
          </p:nvSpPr>
          <p:spPr>
            <a:xfrm>
              <a:off x="-57115" y="1704786"/>
              <a:ext cx="24449" cy="24242"/>
            </a:xfrm>
            <a:custGeom>
              <a:avLst/>
              <a:gdLst>
                <a:gd name="connsiteX0" fmla="*/ 16067 w 24449"/>
                <a:gd name="connsiteY0" fmla="*/ 23643 h 24242"/>
                <a:gd name="connsiteX1" fmla="*/ 23846 w 24449"/>
                <a:gd name="connsiteY1" fmla="*/ 8344 h 24242"/>
                <a:gd name="connsiteX2" fmla="*/ 8477 w 24449"/>
                <a:gd name="connsiteY2" fmla="*/ 600 h 24242"/>
                <a:gd name="connsiteX3" fmla="*/ 602 w 24449"/>
                <a:gd name="connsiteY3" fmla="*/ 15899 h 24242"/>
                <a:gd name="connsiteX4" fmla="*/ 15972 w 24449"/>
                <a:gd name="connsiteY4" fmla="*/ 23643 h 24242"/>
                <a:gd name="connsiteX5" fmla="*/ 15972 w 24449"/>
                <a:gd name="connsiteY5" fmla="*/ 23643 h 2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49" h="24242">
                  <a:moveTo>
                    <a:pt x="16067" y="23643"/>
                  </a:moveTo>
                  <a:cubicBezTo>
                    <a:pt x="22423" y="21565"/>
                    <a:pt x="25933" y="14671"/>
                    <a:pt x="23846" y="8344"/>
                  </a:cubicBezTo>
                  <a:cubicBezTo>
                    <a:pt x="21759" y="2017"/>
                    <a:pt x="14928" y="-1477"/>
                    <a:pt x="8477" y="600"/>
                  </a:cubicBezTo>
                  <a:cubicBezTo>
                    <a:pt x="2025" y="2678"/>
                    <a:pt x="-1485" y="9571"/>
                    <a:pt x="602" y="15899"/>
                  </a:cubicBezTo>
                  <a:cubicBezTo>
                    <a:pt x="2689" y="22226"/>
                    <a:pt x="9615" y="25720"/>
                    <a:pt x="15972" y="23643"/>
                  </a:cubicBezTo>
                  <a:lnTo>
                    <a:pt x="15972" y="23643"/>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3" name="Freihandform 224">
              <a:extLst>
                <a:ext uri="{FF2B5EF4-FFF2-40B4-BE49-F238E27FC236}">
                  <a16:creationId xmlns:a16="http://schemas.microsoft.com/office/drawing/2014/main" id="{0CE0FBC0-2814-39EE-8B43-D5C1F21D22F1}"/>
                </a:ext>
              </a:extLst>
            </p:cNvPr>
            <p:cNvSpPr/>
            <p:nvPr/>
          </p:nvSpPr>
          <p:spPr>
            <a:xfrm>
              <a:off x="1186424" y="1152747"/>
              <a:ext cx="57588" cy="127110"/>
            </a:xfrm>
            <a:custGeom>
              <a:avLst/>
              <a:gdLst>
                <a:gd name="connsiteX0" fmla="*/ 22105 w 57588"/>
                <a:gd name="connsiteY0" fmla="*/ 0 h 127110"/>
                <a:gd name="connsiteX1" fmla="*/ 14800 w 57588"/>
                <a:gd name="connsiteY1" fmla="*/ 0 h 127110"/>
                <a:gd name="connsiteX2" fmla="*/ 0 w 57588"/>
                <a:gd name="connsiteY2" fmla="*/ 14732 h 127110"/>
                <a:gd name="connsiteX3" fmla="*/ 0 w 57588"/>
                <a:gd name="connsiteY3" fmla="*/ 112379 h 127110"/>
                <a:gd name="connsiteX4" fmla="*/ 14800 w 57588"/>
                <a:gd name="connsiteY4" fmla="*/ 127111 h 127110"/>
                <a:gd name="connsiteX5" fmla="*/ 22105 w 57588"/>
                <a:gd name="connsiteY5" fmla="*/ 127111 h 127110"/>
                <a:gd name="connsiteX6" fmla="*/ 57588 w 57588"/>
                <a:gd name="connsiteY6" fmla="*/ 91792 h 127110"/>
                <a:gd name="connsiteX7" fmla="*/ 57588 w 57588"/>
                <a:gd name="connsiteY7" fmla="*/ 35413 h 127110"/>
                <a:gd name="connsiteX8" fmla="*/ 22105 w 57588"/>
                <a:gd name="connsiteY8" fmla="*/ 94 h 127110"/>
                <a:gd name="connsiteX9" fmla="*/ 22105 w 57588"/>
                <a:gd name="connsiteY9" fmla="*/ 94 h 12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88" h="127110">
                  <a:moveTo>
                    <a:pt x="22105" y="0"/>
                  </a:moveTo>
                  <a:lnTo>
                    <a:pt x="14800" y="0"/>
                  </a:lnTo>
                  <a:cubicBezTo>
                    <a:pt x="6641" y="0"/>
                    <a:pt x="0" y="6611"/>
                    <a:pt x="0" y="14732"/>
                  </a:cubicBezTo>
                  <a:lnTo>
                    <a:pt x="0" y="112379"/>
                  </a:lnTo>
                  <a:cubicBezTo>
                    <a:pt x="0" y="120500"/>
                    <a:pt x="6641" y="127111"/>
                    <a:pt x="14800" y="127111"/>
                  </a:cubicBezTo>
                  <a:lnTo>
                    <a:pt x="22105" y="127111"/>
                  </a:lnTo>
                  <a:cubicBezTo>
                    <a:pt x="41744" y="127111"/>
                    <a:pt x="57588" y="111246"/>
                    <a:pt x="57588" y="91792"/>
                  </a:cubicBezTo>
                  <a:lnTo>
                    <a:pt x="57588" y="35413"/>
                  </a:lnTo>
                  <a:cubicBezTo>
                    <a:pt x="57588" y="15865"/>
                    <a:pt x="41649" y="94"/>
                    <a:pt x="22105" y="94"/>
                  </a:cubicBezTo>
                  <a:lnTo>
                    <a:pt x="22105" y="94"/>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4" name="Freihandform 226">
              <a:extLst>
                <a:ext uri="{FF2B5EF4-FFF2-40B4-BE49-F238E27FC236}">
                  <a16:creationId xmlns:a16="http://schemas.microsoft.com/office/drawing/2014/main" id="{1951FE84-720D-EE98-0B3D-155EFE5797A1}"/>
                </a:ext>
              </a:extLst>
            </p:cNvPr>
            <p:cNvSpPr/>
            <p:nvPr/>
          </p:nvSpPr>
          <p:spPr>
            <a:xfrm>
              <a:off x="833115" y="1266826"/>
              <a:ext cx="78460" cy="28047"/>
            </a:xfrm>
            <a:custGeom>
              <a:avLst/>
              <a:gdLst>
                <a:gd name="connsiteX0" fmla="*/ 0 w 78460"/>
                <a:gd name="connsiteY0" fmla="*/ 17282 h 28047"/>
                <a:gd name="connsiteX1" fmla="*/ 0 w 78460"/>
                <a:gd name="connsiteY1" fmla="*/ 20870 h 28047"/>
                <a:gd name="connsiteX2" fmla="*/ 9108 w 78460"/>
                <a:gd name="connsiteY2" fmla="*/ 28047 h 28047"/>
                <a:gd name="connsiteX3" fmla="*/ 69353 w 78460"/>
                <a:gd name="connsiteY3" fmla="*/ 28047 h 28047"/>
                <a:gd name="connsiteX4" fmla="*/ 78460 w 78460"/>
                <a:gd name="connsiteY4" fmla="*/ 20870 h 28047"/>
                <a:gd name="connsiteX5" fmla="*/ 78460 w 78460"/>
                <a:gd name="connsiteY5" fmla="*/ 17282 h 28047"/>
                <a:gd name="connsiteX6" fmla="*/ 56640 w 78460"/>
                <a:gd name="connsiteY6" fmla="*/ 0 h 28047"/>
                <a:gd name="connsiteX7" fmla="*/ 21821 w 78460"/>
                <a:gd name="connsiteY7" fmla="*/ 0 h 28047"/>
                <a:gd name="connsiteX8" fmla="*/ 0 w 78460"/>
                <a:gd name="connsiteY8" fmla="*/ 17282 h 28047"/>
                <a:gd name="connsiteX9" fmla="*/ 0 w 78460"/>
                <a:gd name="connsiteY9" fmla="*/ 17282 h 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60" h="28047">
                  <a:moveTo>
                    <a:pt x="0" y="17282"/>
                  </a:moveTo>
                  <a:lnTo>
                    <a:pt x="0" y="20870"/>
                  </a:lnTo>
                  <a:cubicBezTo>
                    <a:pt x="0" y="24837"/>
                    <a:pt x="4079" y="28047"/>
                    <a:pt x="9108" y="28047"/>
                  </a:cubicBezTo>
                  <a:lnTo>
                    <a:pt x="69353" y="28047"/>
                  </a:lnTo>
                  <a:cubicBezTo>
                    <a:pt x="74381" y="28047"/>
                    <a:pt x="78460" y="24837"/>
                    <a:pt x="78460" y="20870"/>
                  </a:cubicBezTo>
                  <a:lnTo>
                    <a:pt x="78460" y="17282"/>
                  </a:lnTo>
                  <a:cubicBezTo>
                    <a:pt x="78460" y="7744"/>
                    <a:pt x="68688" y="0"/>
                    <a:pt x="56640" y="0"/>
                  </a:cubicBezTo>
                  <a:lnTo>
                    <a:pt x="21821" y="0"/>
                  </a:lnTo>
                  <a:cubicBezTo>
                    <a:pt x="9772" y="0"/>
                    <a:pt x="0" y="7744"/>
                    <a:pt x="0" y="17282"/>
                  </a:cubicBezTo>
                  <a:lnTo>
                    <a:pt x="0" y="17282"/>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5" name="Freihandform 227">
              <a:extLst>
                <a:ext uri="{FF2B5EF4-FFF2-40B4-BE49-F238E27FC236}">
                  <a16:creationId xmlns:a16="http://schemas.microsoft.com/office/drawing/2014/main" id="{E67411EC-B7BB-2F79-CB62-8EFA5DA29D7D}"/>
                </a:ext>
              </a:extLst>
            </p:cNvPr>
            <p:cNvSpPr/>
            <p:nvPr/>
          </p:nvSpPr>
          <p:spPr>
            <a:xfrm>
              <a:off x="-552607" y="1481762"/>
              <a:ext cx="525219" cy="84520"/>
            </a:xfrm>
            <a:custGeom>
              <a:avLst/>
              <a:gdLst>
                <a:gd name="connsiteX0" fmla="*/ 0 w 525219"/>
                <a:gd name="connsiteY0" fmla="*/ 0 h 84520"/>
                <a:gd name="connsiteX1" fmla="*/ 525220 w 525219"/>
                <a:gd name="connsiteY1" fmla="*/ 0 h 84520"/>
                <a:gd name="connsiteX2" fmla="*/ 525220 w 525219"/>
                <a:gd name="connsiteY2" fmla="*/ 84520 h 84520"/>
                <a:gd name="connsiteX3" fmla="*/ 0 w 525219"/>
                <a:gd name="connsiteY3" fmla="*/ 84520 h 84520"/>
              </a:gdLst>
              <a:ahLst/>
              <a:cxnLst>
                <a:cxn ang="0">
                  <a:pos x="connsiteX0" y="connsiteY0"/>
                </a:cxn>
                <a:cxn ang="0">
                  <a:pos x="connsiteX1" y="connsiteY1"/>
                </a:cxn>
                <a:cxn ang="0">
                  <a:pos x="connsiteX2" y="connsiteY2"/>
                </a:cxn>
                <a:cxn ang="0">
                  <a:pos x="connsiteX3" y="connsiteY3"/>
                </a:cxn>
              </a:cxnLst>
              <a:rect l="l" t="t" r="r" b="b"/>
              <a:pathLst>
                <a:path w="525219" h="84520">
                  <a:moveTo>
                    <a:pt x="0" y="0"/>
                  </a:moveTo>
                  <a:lnTo>
                    <a:pt x="525220" y="0"/>
                  </a:lnTo>
                  <a:lnTo>
                    <a:pt x="525220" y="84520"/>
                  </a:lnTo>
                  <a:lnTo>
                    <a:pt x="0" y="84520"/>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nvGrpSpPr>
            <p:cNvPr id="36" name="Grafik 473">
              <a:extLst>
                <a:ext uri="{FF2B5EF4-FFF2-40B4-BE49-F238E27FC236}">
                  <a16:creationId xmlns:a16="http://schemas.microsoft.com/office/drawing/2014/main" id="{6A12C6D8-60A7-8A4A-498D-8CE586FB9343}"/>
                </a:ext>
              </a:extLst>
            </p:cNvPr>
            <p:cNvGrpSpPr/>
            <p:nvPr/>
          </p:nvGrpSpPr>
          <p:grpSpPr>
            <a:xfrm>
              <a:off x="-579172" y="1481762"/>
              <a:ext cx="74285" cy="190099"/>
              <a:chOff x="-579172" y="1481762"/>
              <a:chExt cx="74285" cy="190099"/>
            </a:xfrm>
            <a:solidFill>
              <a:srgbClr val="202020"/>
            </a:solidFill>
          </p:grpSpPr>
          <p:sp>
            <p:nvSpPr>
              <p:cNvPr id="89" name="Freihandform 328">
                <a:extLst>
                  <a:ext uri="{FF2B5EF4-FFF2-40B4-BE49-F238E27FC236}">
                    <a16:creationId xmlns:a16="http://schemas.microsoft.com/office/drawing/2014/main" id="{762F5D58-6B4F-8CF9-E4B5-F6A8F0ED06CC}"/>
                  </a:ext>
                </a:extLst>
              </p:cNvPr>
              <p:cNvSpPr/>
              <p:nvPr/>
            </p:nvSpPr>
            <p:spPr>
              <a:xfrm>
                <a:off x="-552607" y="1481762"/>
                <a:ext cx="47721" cy="190099"/>
              </a:xfrm>
              <a:custGeom>
                <a:avLst/>
                <a:gdLst>
                  <a:gd name="connsiteX0" fmla="*/ 0 w 47721"/>
                  <a:gd name="connsiteY0" fmla="*/ 0 h 190099"/>
                  <a:gd name="connsiteX1" fmla="*/ 47721 w 47721"/>
                  <a:gd name="connsiteY1" fmla="*/ 0 h 190099"/>
                  <a:gd name="connsiteX2" fmla="*/ 47721 w 47721"/>
                  <a:gd name="connsiteY2" fmla="*/ 190099 h 190099"/>
                  <a:gd name="connsiteX3" fmla="*/ 0 w 47721"/>
                  <a:gd name="connsiteY3" fmla="*/ 190099 h 190099"/>
                </a:gdLst>
                <a:ahLst/>
                <a:cxnLst>
                  <a:cxn ang="0">
                    <a:pos x="connsiteX0" y="connsiteY0"/>
                  </a:cxn>
                  <a:cxn ang="0">
                    <a:pos x="connsiteX1" y="connsiteY1"/>
                  </a:cxn>
                  <a:cxn ang="0">
                    <a:pos x="connsiteX2" y="connsiteY2"/>
                  </a:cxn>
                  <a:cxn ang="0">
                    <a:pos x="connsiteX3" y="connsiteY3"/>
                  </a:cxn>
                </a:cxnLst>
                <a:rect l="l" t="t" r="r" b="b"/>
                <a:pathLst>
                  <a:path w="47721" h="190099">
                    <a:moveTo>
                      <a:pt x="0" y="0"/>
                    </a:moveTo>
                    <a:lnTo>
                      <a:pt x="47721" y="0"/>
                    </a:lnTo>
                    <a:lnTo>
                      <a:pt x="47721" y="190099"/>
                    </a:lnTo>
                    <a:lnTo>
                      <a:pt x="0" y="190099"/>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90" name="Freihandform 329">
                <a:extLst>
                  <a:ext uri="{FF2B5EF4-FFF2-40B4-BE49-F238E27FC236}">
                    <a16:creationId xmlns:a16="http://schemas.microsoft.com/office/drawing/2014/main" id="{1C1B2304-F698-4387-4597-54BBE7C397A1}"/>
                  </a:ext>
                </a:extLst>
              </p:cNvPr>
              <p:cNvSpPr/>
              <p:nvPr/>
            </p:nvSpPr>
            <p:spPr>
              <a:xfrm>
                <a:off x="-579172" y="1645419"/>
                <a:ext cx="74285" cy="26442"/>
              </a:xfrm>
              <a:custGeom>
                <a:avLst/>
                <a:gdLst>
                  <a:gd name="connsiteX0" fmla="*/ 0 w 74285"/>
                  <a:gd name="connsiteY0" fmla="*/ 0 h 26442"/>
                  <a:gd name="connsiteX1" fmla="*/ 74286 w 74285"/>
                  <a:gd name="connsiteY1" fmla="*/ 0 h 26442"/>
                  <a:gd name="connsiteX2" fmla="*/ 74286 w 74285"/>
                  <a:gd name="connsiteY2" fmla="*/ 26442 h 26442"/>
                  <a:gd name="connsiteX3" fmla="*/ 0 w 74285"/>
                  <a:gd name="connsiteY3" fmla="*/ 26442 h 26442"/>
                </a:gdLst>
                <a:ahLst/>
                <a:cxnLst>
                  <a:cxn ang="0">
                    <a:pos x="connsiteX0" y="connsiteY0"/>
                  </a:cxn>
                  <a:cxn ang="0">
                    <a:pos x="connsiteX1" y="connsiteY1"/>
                  </a:cxn>
                  <a:cxn ang="0">
                    <a:pos x="connsiteX2" y="connsiteY2"/>
                  </a:cxn>
                  <a:cxn ang="0">
                    <a:pos x="connsiteX3" y="connsiteY3"/>
                  </a:cxn>
                </a:cxnLst>
                <a:rect l="l" t="t" r="r" b="b"/>
                <a:pathLst>
                  <a:path w="74285" h="26442">
                    <a:moveTo>
                      <a:pt x="0" y="0"/>
                    </a:moveTo>
                    <a:lnTo>
                      <a:pt x="74286" y="0"/>
                    </a:lnTo>
                    <a:lnTo>
                      <a:pt x="74286" y="26442"/>
                    </a:lnTo>
                    <a:lnTo>
                      <a:pt x="0" y="26442"/>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nvGrpSpPr>
            <p:cNvPr id="37" name="Grafik 473">
              <a:extLst>
                <a:ext uri="{FF2B5EF4-FFF2-40B4-BE49-F238E27FC236}">
                  <a16:creationId xmlns:a16="http://schemas.microsoft.com/office/drawing/2014/main" id="{20481936-1BCA-5F81-9A84-BC640E4C07CF}"/>
                </a:ext>
              </a:extLst>
            </p:cNvPr>
            <p:cNvGrpSpPr/>
            <p:nvPr/>
          </p:nvGrpSpPr>
          <p:grpSpPr>
            <a:xfrm>
              <a:off x="-81845" y="998341"/>
              <a:ext cx="721038" cy="414010"/>
              <a:chOff x="-81845" y="998341"/>
              <a:chExt cx="721038" cy="414010"/>
            </a:xfrm>
            <a:solidFill>
              <a:srgbClr val="007C39"/>
            </a:solidFill>
          </p:grpSpPr>
          <p:sp>
            <p:nvSpPr>
              <p:cNvPr id="87" name="Freihandform 326">
                <a:extLst>
                  <a:ext uri="{FF2B5EF4-FFF2-40B4-BE49-F238E27FC236}">
                    <a16:creationId xmlns:a16="http://schemas.microsoft.com/office/drawing/2014/main" id="{158BDF8C-90EF-82C5-79CB-F6774FEAE291}"/>
                  </a:ext>
                </a:extLst>
              </p:cNvPr>
              <p:cNvSpPr/>
              <p:nvPr/>
            </p:nvSpPr>
            <p:spPr>
              <a:xfrm>
                <a:off x="-73401" y="998341"/>
                <a:ext cx="712594" cy="301402"/>
              </a:xfrm>
              <a:custGeom>
                <a:avLst/>
                <a:gdLst>
                  <a:gd name="connsiteX0" fmla="*/ 712595 w 712594"/>
                  <a:gd name="connsiteY0" fmla="*/ 72530 h 301402"/>
                  <a:gd name="connsiteX1" fmla="*/ 529394 w 712594"/>
                  <a:gd name="connsiteY1" fmla="*/ 3 h 301402"/>
                  <a:gd name="connsiteX2" fmla="*/ 267828 w 712594"/>
                  <a:gd name="connsiteY2" fmla="*/ 114082 h 301402"/>
                  <a:gd name="connsiteX3" fmla="*/ 23623 w 712594"/>
                  <a:gd name="connsiteY3" fmla="*/ 176787 h 301402"/>
                  <a:gd name="connsiteX4" fmla="*/ 0 w 712594"/>
                  <a:gd name="connsiteY4" fmla="*/ 163094 h 301402"/>
                  <a:gd name="connsiteX5" fmla="*/ 260807 w 712594"/>
                  <a:gd name="connsiteY5" fmla="*/ 300121 h 301402"/>
                  <a:gd name="connsiteX6" fmla="*/ 515827 w 712594"/>
                  <a:gd name="connsiteY6" fmla="*/ 213617 h 301402"/>
                  <a:gd name="connsiteX7" fmla="*/ 712595 w 712594"/>
                  <a:gd name="connsiteY7" fmla="*/ 184909 h 301402"/>
                  <a:gd name="connsiteX8" fmla="*/ 712595 w 712594"/>
                  <a:gd name="connsiteY8" fmla="*/ 72530 h 30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2594" h="301402">
                    <a:moveTo>
                      <a:pt x="712595" y="72530"/>
                    </a:moveTo>
                    <a:cubicBezTo>
                      <a:pt x="712595" y="72530"/>
                      <a:pt x="623888" y="-563"/>
                      <a:pt x="529394" y="3"/>
                    </a:cubicBezTo>
                    <a:cubicBezTo>
                      <a:pt x="396002" y="759"/>
                      <a:pt x="326650" y="73569"/>
                      <a:pt x="267828" y="114082"/>
                    </a:cubicBezTo>
                    <a:cubicBezTo>
                      <a:pt x="209006" y="154595"/>
                      <a:pt x="131590" y="217300"/>
                      <a:pt x="23623" y="176787"/>
                    </a:cubicBezTo>
                    <a:lnTo>
                      <a:pt x="0" y="163094"/>
                    </a:lnTo>
                    <a:cubicBezTo>
                      <a:pt x="0" y="163094"/>
                      <a:pt x="142215" y="290110"/>
                      <a:pt x="260807" y="300121"/>
                    </a:cubicBezTo>
                    <a:cubicBezTo>
                      <a:pt x="392871" y="311358"/>
                      <a:pt x="463078" y="245914"/>
                      <a:pt x="515827" y="213617"/>
                    </a:cubicBezTo>
                    <a:cubicBezTo>
                      <a:pt x="568577" y="181320"/>
                      <a:pt x="602731" y="175843"/>
                      <a:pt x="712595" y="184909"/>
                    </a:cubicBezTo>
                    <a:lnTo>
                      <a:pt x="712595" y="72530"/>
                    </a:lnTo>
                    <a:close/>
                  </a:path>
                </a:pathLst>
              </a:custGeom>
              <a:solidFill>
                <a:srgbClr val="007C39"/>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8" name="Freihandform 327">
                <a:extLst>
                  <a:ext uri="{FF2B5EF4-FFF2-40B4-BE49-F238E27FC236}">
                    <a16:creationId xmlns:a16="http://schemas.microsoft.com/office/drawing/2014/main" id="{8A643903-78AB-A227-9635-D66031EC0A4F}"/>
                  </a:ext>
                </a:extLst>
              </p:cNvPr>
              <p:cNvSpPr/>
              <p:nvPr/>
            </p:nvSpPr>
            <p:spPr>
              <a:xfrm>
                <a:off x="-81845" y="1175223"/>
                <a:ext cx="721038" cy="237128"/>
              </a:xfrm>
              <a:custGeom>
                <a:avLst/>
                <a:gdLst>
                  <a:gd name="connsiteX0" fmla="*/ 721039 w 721038"/>
                  <a:gd name="connsiteY0" fmla="*/ 30408 h 237128"/>
                  <a:gd name="connsiteX1" fmla="*/ 591062 w 721038"/>
                  <a:gd name="connsiteY1" fmla="*/ 30881 h 237128"/>
                  <a:gd name="connsiteX2" fmla="*/ 446665 w 721038"/>
                  <a:gd name="connsiteY2" fmla="*/ 112662 h 237128"/>
                  <a:gd name="connsiteX3" fmla="*/ 172954 w 721038"/>
                  <a:gd name="connsiteY3" fmla="*/ 120689 h 237128"/>
                  <a:gd name="connsiteX4" fmla="*/ 0 w 721038"/>
                  <a:gd name="connsiteY4" fmla="*/ 0 h 237128"/>
                  <a:gd name="connsiteX5" fmla="*/ 246007 w 721038"/>
                  <a:gd name="connsiteY5" fmla="*/ 237129 h 237128"/>
                  <a:gd name="connsiteX6" fmla="*/ 721039 w 721038"/>
                  <a:gd name="connsiteY6" fmla="*/ 237129 h 237128"/>
                  <a:gd name="connsiteX7" fmla="*/ 721039 w 721038"/>
                  <a:gd name="connsiteY7" fmla="*/ 30503 h 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038" h="237128">
                    <a:moveTo>
                      <a:pt x="721039" y="30408"/>
                    </a:moveTo>
                    <a:cubicBezTo>
                      <a:pt x="721039" y="30408"/>
                      <a:pt x="632712" y="15015"/>
                      <a:pt x="591062" y="30881"/>
                    </a:cubicBezTo>
                    <a:cubicBezTo>
                      <a:pt x="549413" y="46651"/>
                      <a:pt x="495430" y="82348"/>
                      <a:pt x="446665" y="112662"/>
                    </a:cubicBezTo>
                    <a:cubicBezTo>
                      <a:pt x="384997" y="150909"/>
                      <a:pt x="266974" y="166963"/>
                      <a:pt x="172954" y="120689"/>
                    </a:cubicBezTo>
                    <a:cubicBezTo>
                      <a:pt x="91173" y="80365"/>
                      <a:pt x="20208" y="29370"/>
                      <a:pt x="0" y="0"/>
                    </a:cubicBezTo>
                    <a:cubicBezTo>
                      <a:pt x="18880" y="69033"/>
                      <a:pt x="124284" y="215786"/>
                      <a:pt x="246007" y="237129"/>
                    </a:cubicBezTo>
                    <a:lnTo>
                      <a:pt x="721039" y="237129"/>
                    </a:lnTo>
                    <a:lnTo>
                      <a:pt x="721039" y="30503"/>
                    </a:lnTo>
                    <a:close/>
                  </a:path>
                </a:pathLst>
              </a:custGeom>
              <a:solidFill>
                <a:srgbClr val="007C39"/>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sp>
          <p:nvSpPr>
            <p:cNvPr id="38" name="Freihandform 230">
              <a:extLst>
                <a:ext uri="{FF2B5EF4-FFF2-40B4-BE49-F238E27FC236}">
                  <a16:creationId xmlns:a16="http://schemas.microsoft.com/office/drawing/2014/main" id="{A87537CC-2363-E914-E241-AC03882A79ED}"/>
                </a:ext>
              </a:extLst>
            </p:cNvPr>
            <p:cNvSpPr/>
            <p:nvPr/>
          </p:nvSpPr>
          <p:spPr>
            <a:xfrm>
              <a:off x="-344929" y="1516892"/>
              <a:ext cx="438695" cy="200676"/>
            </a:xfrm>
            <a:custGeom>
              <a:avLst/>
              <a:gdLst>
                <a:gd name="connsiteX0" fmla="*/ 63945 w 438695"/>
                <a:gd name="connsiteY0" fmla="*/ 200676 h 200676"/>
                <a:gd name="connsiteX1" fmla="*/ 219348 w 438695"/>
                <a:gd name="connsiteY1" fmla="*/ 63366 h 200676"/>
                <a:gd name="connsiteX2" fmla="*/ 374750 w 438695"/>
                <a:gd name="connsiteY2" fmla="*/ 200676 h 200676"/>
                <a:gd name="connsiteX3" fmla="*/ 438695 w 438695"/>
                <a:gd name="connsiteY3" fmla="*/ 200676 h 200676"/>
                <a:gd name="connsiteX4" fmla="*/ 219348 w 438695"/>
                <a:gd name="connsiteY4" fmla="*/ 0 h 200676"/>
                <a:gd name="connsiteX5" fmla="*/ 0 w 438695"/>
                <a:gd name="connsiteY5" fmla="*/ 200676 h 200676"/>
                <a:gd name="connsiteX6" fmla="*/ 63945 w 438695"/>
                <a:gd name="connsiteY6" fmla="*/ 200676 h 20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695" h="200676">
                  <a:moveTo>
                    <a:pt x="63945" y="200676"/>
                  </a:moveTo>
                  <a:cubicBezTo>
                    <a:pt x="73147" y="123333"/>
                    <a:pt x="139179" y="63366"/>
                    <a:pt x="219348" y="63366"/>
                  </a:cubicBezTo>
                  <a:cubicBezTo>
                    <a:pt x="299516" y="63366"/>
                    <a:pt x="365548" y="123333"/>
                    <a:pt x="374750" y="200676"/>
                  </a:cubicBezTo>
                  <a:lnTo>
                    <a:pt x="438695" y="200676"/>
                  </a:lnTo>
                  <a:cubicBezTo>
                    <a:pt x="429303" y="88298"/>
                    <a:pt x="334714" y="0"/>
                    <a:pt x="219348" y="0"/>
                  </a:cubicBezTo>
                  <a:cubicBezTo>
                    <a:pt x="103981" y="0"/>
                    <a:pt x="9487" y="88298"/>
                    <a:pt x="0" y="200676"/>
                  </a:cubicBezTo>
                  <a:lnTo>
                    <a:pt x="63945" y="200676"/>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39" name="Freihandform 231">
              <a:extLst>
                <a:ext uri="{FF2B5EF4-FFF2-40B4-BE49-F238E27FC236}">
                  <a16:creationId xmlns:a16="http://schemas.microsoft.com/office/drawing/2014/main" id="{06163762-CA8D-7AD6-7575-AF3947054F43}"/>
                </a:ext>
              </a:extLst>
            </p:cNvPr>
            <p:cNvSpPr/>
            <p:nvPr/>
          </p:nvSpPr>
          <p:spPr>
            <a:xfrm>
              <a:off x="1214791" y="1516892"/>
              <a:ext cx="438695" cy="200676"/>
            </a:xfrm>
            <a:custGeom>
              <a:avLst/>
              <a:gdLst>
                <a:gd name="connsiteX0" fmla="*/ 63945 w 438695"/>
                <a:gd name="connsiteY0" fmla="*/ 200676 h 200676"/>
                <a:gd name="connsiteX1" fmla="*/ 219348 w 438695"/>
                <a:gd name="connsiteY1" fmla="*/ 63366 h 200676"/>
                <a:gd name="connsiteX2" fmla="*/ 374750 w 438695"/>
                <a:gd name="connsiteY2" fmla="*/ 200676 h 200676"/>
                <a:gd name="connsiteX3" fmla="*/ 438695 w 438695"/>
                <a:gd name="connsiteY3" fmla="*/ 200676 h 200676"/>
                <a:gd name="connsiteX4" fmla="*/ 219348 w 438695"/>
                <a:gd name="connsiteY4" fmla="*/ 0 h 200676"/>
                <a:gd name="connsiteX5" fmla="*/ 0 w 438695"/>
                <a:gd name="connsiteY5" fmla="*/ 200676 h 200676"/>
                <a:gd name="connsiteX6" fmla="*/ 63945 w 438695"/>
                <a:gd name="connsiteY6" fmla="*/ 200676 h 20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695" h="200676">
                  <a:moveTo>
                    <a:pt x="63945" y="200676"/>
                  </a:moveTo>
                  <a:cubicBezTo>
                    <a:pt x="73148" y="123333"/>
                    <a:pt x="139179" y="63366"/>
                    <a:pt x="219348" y="63366"/>
                  </a:cubicBezTo>
                  <a:cubicBezTo>
                    <a:pt x="299516" y="63366"/>
                    <a:pt x="365548" y="123333"/>
                    <a:pt x="374750" y="200676"/>
                  </a:cubicBezTo>
                  <a:lnTo>
                    <a:pt x="438695" y="200676"/>
                  </a:lnTo>
                  <a:cubicBezTo>
                    <a:pt x="429303" y="88298"/>
                    <a:pt x="334714" y="0"/>
                    <a:pt x="219348" y="0"/>
                  </a:cubicBezTo>
                  <a:cubicBezTo>
                    <a:pt x="103981" y="0"/>
                    <a:pt x="9487" y="88298"/>
                    <a:pt x="0" y="200676"/>
                  </a:cubicBezTo>
                  <a:lnTo>
                    <a:pt x="63945" y="200676"/>
                  </a:lnTo>
                  <a:close/>
                </a:path>
              </a:pathLst>
            </a:custGeom>
            <a:solidFill>
              <a:srgbClr val="20202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40" name="Freihandform 232">
              <a:extLst>
                <a:ext uri="{FF2B5EF4-FFF2-40B4-BE49-F238E27FC236}">
                  <a16:creationId xmlns:a16="http://schemas.microsoft.com/office/drawing/2014/main" id="{C23A4CB3-C297-9974-7FAB-362EBD12DDFF}"/>
                </a:ext>
              </a:extLst>
            </p:cNvPr>
            <p:cNvSpPr/>
            <p:nvPr/>
          </p:nvSpPr>
          <p:spPr>
            <a:xfrm>
              <a:off x="1382337" y="1428405"/>
              <a:ext cx="42503" cy="42307"/>
            </a:xfrm>
            <a:custGeom>
              <a:avLst/>
              <a:gdLst>
                <a:gd name="connsiteX0" fmla="*/ 42503 w 42503"/>
                <a:gd name="connsiteY0" fmla="*/ 21154 h 42307"/>
                <a:gd name="connsiteX1" fmla="*/ 21252 w 42503"/>
                <a:gd name="connsiteY1" fmla="*/ 42307 h 42307"/>
                <a:gd name="connsiteX2" fmla="*/ 0 w 42503"/>
                <a:gd name="connsiteY2" fmla="*/ 21154 h 42307"/>
                <a:gd name="connsiteX3" fmla="*/ 21252 w 42503"/>
                <a:gd name="connsiteY3" fmla="*/ 0 h 42307"/>
                <a:gd name="connsiteX4" fmla="*/ 42503 w 42503"/>
                <a:gd name="connsiteY4" fmla="*/ 21154 h 4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03" h="42307">
                  <a:moveTo>
                    <a:pt x="42503" y="21154"/>
                  </a:moveTo>
                  <a:cubicBezTo>
                    <a:pt x="42503" y="32837"/>
                    <a:pt x="32989" y="42307"/>
                    <a:pt x="21252" y="42307"/>
                  </a:cubicBezTo>
                  <a:cubicBezTo>
                    <a:pt x="9515" y="42307"/>
                    <a:pt x="0" y="32836"/>
                    <a:pt x="0" y="21154"/>
                  </a:cubicBezTo>
                  <a:cubicBezTo>
                    <a:pt x="0" y="9471"/>
                    <a:pt x="9515" y="0"/>
                    <a:pt x="21252" y="0"/>
                  </a:cubicBezTo>
                  <a:cubicBezTo>
                    <a:pt x="32989" y="0"/>
                    <a:pt x="42503" y="9471"/>
                    <a:pt x="42503" y="21154"/>
                  </a:cubicBezTo>
                  <a:close/>
                </a:path>
              </a:pathLst>
            </a:custGeom>
            <a:solidFill>
              <a:srgbClr val="00000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41" name="Freihandform 233">
              <a:extLst>
                <a:ext uri="{FF2B5EF4-FFF2-40B4-BE49-F238E27FC236}">
                  <a16:creationId xmlns:a16="http://schemas.microsoft.com/office/drawing/2014/main" id="{8C4A1186-A5C1-A7F3-5590-A634BFE42A81}"/>
                </a:ext>
              </a:extLst>
            </p:cNvPr>
            <p:cNvSpPr/>
            <p:nvPr/>
          </p:nvSpPr>
          <p:spPr>
            <a:xfrm>
              <a:off x="1500455" y="1321504"/>
              <a:ext cx="256443" cy="126921"/>
            </a:xfrm>
            <a:custGeom>
              <a:avLst/>
              <a:gdLst>
                <a:gd name="connsiteX0" fmla="*/ 0 w 256443"/>
                <a:gd name="connsiteY0" fmla="*/ 0 h 126921"/>
                <a:gd name="connsiteX1" fmla="*/ 256443 w 256443"/>
                <a:gd name="connsiteY1" fmla="*/ 126922 h 126921"/>
                <a:gd name="connsiteX2" fmla="*/ 216501 w 256443"/>
                <a:gd name="connsiteY2" fmla="*/ 28709 h 126921"/>
                <a:gd name="connsiteX3" fmla="*/ 95 w 256443"/>
                <a:gd name="connsiteY3" fmla="*/ 0 h 126921"/>
              </a:gdLst>
              <a:ahLst/>
              <a:cxnLst>
                <a:cxn ang="0">
                  <a:pos x="connsiteX0" y="connsiteY0"/>
                </a:cxn>
                <a:cxn ang="0">
                  <a:pos x="connsiteX1" y="connsiteY1"/>
                </a:cxn>
                <a:cxn ang="0">
                  <a:pos x="connsiteX2" y="connsiteY2"/>
                </a:cxn>
                <a:cxn ang="0">
                  <a:pos x="connsiteX3" y="connsiteY3"/>
                </a:cxn>
              </a:cxnLst>
              <a:rect l="l" t="t" r="r" b="b"/>
              <a:pathLst>
                <a:path w="256443" h="126921">
                  <a:moveTo>
                    <a:pt x="0" y="0"/>
                  </a:moveTo>
                  <a:cubicBezTo>
                    <a:pt x="0" y="0"/>
                    <a:pt x="203599" y="119745"/>
                    <a:pt x="256443" y="126922"/>
                  </a:cubicBezTo>
                  <a:lnTo>
                    <a:pt x="216501" y="28709"/>
                  </a:lnTo>
                  <a:lnTo>
                    <a:pt x="95" y="0"/>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nvGrpSpPr>
            <p:cNvPr id="42" name="Grafik 473">
              <a:extLst>
                <a:ext uri="{FF2B5EF4-FFF2-40B4-BE49-F238E27FC236}">
                  <a16:creationId xmlns:a16="http://schemas.microsoft.com/office/drawing/2014/main" id="{FC4FA419-873A-6ACE-063B-521F9EB7812D}"/>
                </a:ext>
              </a:extLst>
            </p:cNvPr>
            <p:cNvGrpSpPr/>
            <p:nvPr/>
          </p:nvGrpSpPr>
          <p:grpSpPr>
            <a:xfrm>
              <a:off x="-285917" y="1562032"/>
              <a:ext cx="327028" cy="320232"/>
              <a:chOff x="-285917" y="1562032"/>
              <a:chExt cx="327028" cy="320232"/>
            </a:xfrm>
          </p:grpSpPr>
          <p:sp>
            <p:nvSpPr>
              <p:cNvPr id="81" name="Freihandform 320">
                <a:extLst>
                  <a:ext uri="{FF2B5EF4-FFF2-40B4-BE49-F238E27FC236}">
                    <a16:creationId xmlns:a16="http://schemas.microsoft.com/office/drawing/2014/main" id="{623EA8DC-8DF5-FF8C-EAF1-A4186CF9FD9C}"/>
                  </a:ext>
                </a:extLst>
              </p:cNvPr>
              <p:cNvSpPr/>
              <p:nvPr/>
            </p:nvSpPr>
            <p:spPr>
              <a:xfrm>
                <a:off x="-149645" y="1733278"/>
                <a:ext cx="24415" cy="24296"/>
              </a:xfrm>
              <a:custGeom>
                <a:avLst/>
                <a:gdLst>
                  <a:gd name="connsiteX0" fmla="*/ 2338 w 24415"/>
                  <a:gd name="connsiteY0" fmla="*/ 5066 h 24296"/>
                  <a:gd name="connsiteX1" fmla="*/ 5089 w 24415"/>
                  <a:gd name="connsiteY1" fmla="*/ 21970 h 24296"/>
                  <a:gd name="connsiteX2" fmla="*/ 22072 w 24415"/>
                  <a:gd name="connsiteY2" fmla="*/ 19231 h 24296"/>
                  <a:gd name="connsiteX3" fmla="*/ 19415 w 24415"/>
                  <a:gd name="connsiteY3" fmla="*/ 2327 h 24296"/>
                  <a:gd name="connsiteX4" fmla="*/ 2338 w 24415"/>
                  <a:gd name="connsiteY4" fmla="*/ 5066 h 24296"/>
                  <a:gd name="connsiteX5" fmla="*/ 2338 w 24415"/>
                  <a:gd name="connsiteY5" fmla="*/ 5066 h 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15" h="24296">
                    <a:moveTo>
                      <a:pt x="2338" y="5066"/>
                    </a:moveTo>
                    <a:cubicBezTo>
                      <a:pt x="-1647" y="10449"/>
                      <a:pt x="-413" y="18098"/>
                      <a:pt x="5089" y="21970"/>
                    </a:cubicBezTo>
                    <a:cubicBezTo>
                      <a:pt x="10497" y="25936"/>
                      <a:pt x="18182" y="24708"/>
                      <a:pt x="22072" y="19231"/>
                    </a:cubicBezTo>
                    <a:cubicBezTo>
                      <a:pt x="26056" y="13848"/>
                      <a:pt x="24823" y="6199"/>
                      <a:pt x="19415" y="2327"/>
                    </a:cubicBezTo>
                    <a:cubicBezTo>
                      <a:pt x="14007" y="-1639"/>
                      <a:pt x="6323" y="-411"/>
                      <a:pt x="2338" y="5066"/>
                    </a:cubicBezTo>
                    <a:lnTo>
                      <a:pt x="2338" y="5066"/>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2" name="Freihandform 321">
                <a:extLst>
                  <a:ext uri="{FF2B5EF4-FFF2-40B4-BE49-F238E27FC236}">
                    <a16:creationId xmlns:a16="http://schemas.microsoft.com/office/drawing/2014/main" id="{6C7A24F6-F662-E436-9213-0F31FAD380DE}"/>
                  </a:ext>
                </a:extLst>
              </p:cNvPr>
              <p:cNvSpPr/>
              <p:nvPr/>
            </p:nvSpPr>
            <p:spPr>
              <a:xfrm>
                <a:off x="-119576" y="1733346"/>
                <a:ext cx="24421" cy="24235"/>
              </a:xfrm>
              <a:custGeom>
                <a:avLst/>
                <a:gdLst>
                  <a:gd name="connsiteX0" fmla="*/ 2439 w 24421"/>
                  <a:gd name="connsiteY0" fmla="*/ 19258 h 24235"/>
                  <a:gd name="connsiteX1" fmla="*/ 19421 w 24421"/>
                  <a:gd name="connsiteY1" fmla="*/ 21902 h 24235"/>
                  <a:gd name="connsiteX2" fmla="*/ 22078 w 24421"/>
                  <a:gd name="connsiteY2" fmla="*/ 4998 h 24235"/>
                  <a:gd name="connsiteX3" fmla="*/ 5000 w 24421"/>
                  <a:gd name="connsiteY3" fmla="*/ 2259 h 24235"/>
                  <a:gd name="connsiteX4" fmla="*/ 2344 w 24421"/>
                  <a:gd name="connsiteY4" fmla="*/ 19258 h 24235"/>
                  <a:gd name="connsiteX5" fmla="*/ 2344 w 24421"/>
                  <a:gd name="connsiteY5" fmla="*/ 19258 h 2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1" h="24235">
                    <a:moveTo>
                      <a:pt x="2439" y="19258"/>
                    </a:moveTo>
                    <a:cubicBezTo>
                      <a:pt x="6423" y="24641"/>
                      <a:pt x="14013" y="25868"/>
                      <a:pt x="19421" y="21902"/>
                    </a:cubicBezTo>
                    <a:cubicBezTo>
                      <a:pt x="24829" y="17936"/>
                      <a:pt x="26062" y="10381"/>
                      <a:pt x="22078" y="4998"/>
                    </a:cubicBezTo>
                    <a:cubicBezTo>
                      <a:pt x="18093" y="-385"/>
                      <a:pt x="10503" y="-1612"/>
                      <a:pt x="5000" y="2259"/>
                    </a:cubicBezTo>
                    <a:cubicBezTo>
                      <a:pt x="-407" y="6226"/>
                      <a:pt x="-1641" y="13781"/>
                      <a:pt x="2344" y="19258"/>
                    </a:cubicBezTo>
                    <a:lnTo>
                      <a:pt x="2344" y="19258"/>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3" name="Freihandform 322">
                <a:extLst>
                  <a:ext uri="{FF2B5EF4-FFF2-40B4-BE49-F238E27FC236}">
                    <a16:creationId xmlns:a16="http://schemas.microsoft.com/office/drawing/2014/main" id="{ACC69552-29F8-FBE0-C83F-C09726F7EE5E}"/>
                  </a:ext>
                </a:extLst>
              </p:cNvPr>
              <p:cNvSpPr/>
              <p:nvPr/>
            </p:nvSpPr>
            <p:spPr>
              <a:xfrm>
                <a:off x="-285917" y="1562032"/>
                <a:ext cx="327028" cy="320232"/>
              </a:xfrm>
              <a:custGeom>
                <a:avLst/>
                <a:gdLst>
                  <a:gd name="connsiteX0" fmla="*/ 327029 w 327028"/>
                  <a:gd name="connsiteY0" fmla="*/ 162713 h 320232"/>
                  <a:gd name="connsiteX1" fmla="*/ 279118 w 327028"/>
                  <a:gd name="connsiteY1" fmla="*/ 47690 h 320232"/>
                  <a:gd name="connsiteX2" fmla="*/ 163467 w 327028"/>
                  <a:gd name="connsiteY2" fmla="*/ 0 h 320232"/>
                  <a:gd name="connsiteX3" fmla="*/ 47911 w 327028"/>
                  <a:gd name="connsiteY3" fmla="*/ 47690 h 320232"/>
                  <a:gd name="connsiteX4" fmla="*/ 0 w 327028"/>
                  <a:gd name="connsiteY4" fmla="*/ 162713 h 320232"/>
                  <a:gd name="connsiteX5" fmla="*/ 47911 w 327028"/>
                  <a:gd name="connsiteY5" fmla="*/ 277830 h 320232"/>
                  <a:gd name="connsiteX6" fmla="*/ 163467 w 327028"/>
                  <a:gd name="connsiteY6" fmla="*/ 320232 h 320232"/>
                  <a:gd name="connsiteX7" fmla="*/ 279118 w 327028"/>
                  <a:gd name="connsiteY7" fmla="*/ 277830 h 320232"/>
                  <a:gd name="connsiteX8" fmla="*/ 327029 w 327028"/>
                  <a:gd name="connsiteY8" fmla="*/ 162713 h 320232"/>
                  <a:gd name="connsiteX9" fmla="*/ 327029 w 327028"/>
                  <a:gd name="connsiteY9" fmla="*/ 162713 h 32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028" h="320232">
                    <a:moveTo>
                      <a:pt x="327029" y="162713"/>
                    </a:moveTo>
                    <a:cubicBezTo>
                      <a:pt x="327029" y="117762"/>
                      <a:pt x="308718" y="77154"/>
                      <a:pt x="279118" y="47690"/>
                    </a:cubicBezTo>
                    <a:cubicBezTo>
                      <a:pt x="249517" y="18226"/>
                      <a:pt x="208627" y="0"/>
                      <a:pt x="163467" y="0"/>
                    </a:cubicBezTo>
                    <a:cubicBezTo>
                      <a:pt x="118307" y="0"/>
                      <a:pt x="77512" y="18226"/>
                      <a:pt x="47911" y="47690"/>
                    </a:cubicBezTo>
                    <a:cubicBezTo>
                      <a:pt x="18311" y="77154"/>
                      <a:pt x="0" y="117856"/>
                      <a:pt x="0" y="162713"/>
                    </a:cubicBezTo>
                    <a:cubicBezTo>
                      <a:pt x="0" y="207570"/>
                      <a:pt x="18311" y="248366"/>
                      <a:pt x="47911" y="277830"/>
                    </a:cubicBezTo>
                    <a:cubicBezTo>
                      <a:pt x="77512" y="307294"/>
                      <a:pt x="118307" y="320232"/>
                      <a:pt x="163467" y="320232"/>
                    </a:cubicBezTo>
                    <a:cubicBezTo>
                      <a:pt x="208627" y="320232"/>
                      <a:pt x="249517" y="307294"/>
                      <a:pt x="279118" y="277830"/>
                    </a:cubicBezTo>
                    <a:cubicBezTo>
                      <a:pt x="308718" y="248366"/>
                      <a:pt x="327029" y="207665"/>
                      <a:pt x="327029" y="162713"/>
                    </a:cubicBezTo>
                    <a:lnTo>
                      <a:pt x="327029" y="162713"/>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4" name="Freihandform 323">
                <a:extLst>
                  <a:ext uri="{FF2B5EF4-FFF2-40B4-BE49-F238E27FC236}">
                    <a16:creationId xmlns:a16="http://schemas.microsoft.com/office/drawing/2014/main" id="{CABD610A-88CC-F920-6B7A-7CE26DA819E1}"/>
                  </a:ext>
                </a:extLst>
              </p:cNvPr>
              <p:cNvSpPr/>
              <p:nvPr/>
            </p:nvSpPr>
            <p:spPr>
              <a:xfrm>
                <a:off x="-231081" y="1616522"/>
                <a:ext cx="217450" cy="216541"/>
              </a:xfrm>
              <a:custGeom>
                <a:avLst/>
                <a:gdLst>
                  <a:gd name="connsiteX0" fmla="*/ 217450 w 217450"/>
                  <a:gd name="connsiteY0" fmla="*/ 108224 h 216541"/>
                  <a:gd name="connsiteX1" fmla="*/ 108725 w 217450"/>
                  <a:gd name="connsiteY1" fmla="*/ 0 h 216541"/>
                  <a:gd name="connsiteX2" fmla="*/ 0 w 217450"/>
                  <a:gd name="connsiteY2" fmla="*/ 108224 h 216541"/>
                  <a:gd name="connsiteX3" fmla="*/ 108725 w 217450"/>
                  <a:gd name="connsiteY3" fmla="*/ 216541 h 216541"/>
                  <a:gd name="connsiteX4" fmla="*/ 217450 w 217450"/>
                  <a:gd name="connsiteY4" fmla="*/ 108224 h 216541"/>
                  <a:gd name="connsiteX5" fmla="*/ 217450 w 217450"/>
                  <a:gd name="connsiteY5" fmla="*/ 108224 h 21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450" h="216541">
                    <a:moveTo>
                      <a:pt x="217450" y="108224"/>
                    </a:moveTo>
                    <a:cubicBezTo>
                      <a:pt x="217450" y="48540"/>
                      <a:pt x="168685" y="0"/>
                      <a:pt x="108725" y="0"/>
                    </a:cubicBezTo>
                    <a:cubicBezTo>
                      <a:pt x="48765" y="0"/>
                      <a:pt x="0" y="48446"/>
                      <a:pt x="0" y="108224"/>
                    </a:cubicBezTo>
                    <a:cubicBezTo>
                      <a:pt x="0" y="168001"/>
                      <a:pt x="48670" y="216541"/>
                      <a:pt x="108725" y="216541"/>
                    </a:cubicBezTo>
                    <a:cubicBezTo>
                      <a:pt x="168780" y="216541"/>
                      <a:pt x="217450" y="168096"/>
                      <a:pt x="217450" y="108224"/>
                    </a:cubicBezTo>
                    <a:lnTo>
                      <a:pt x="217450" y="108224"/>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5" name="Freihandform 324">
                <a:extLst>
                  <a:ext uri="{FF2B5EF4-FFF2-40B4-BE49-F238E27FC236}">
                    <a16:creationId xmlns:a16="http://schemas.microsoft.com/office/drawing/2014/main" id="{926EC76F-54DE-7B1E-FD99-C3A9F322CDC9}"/>
                  </a:ext>
                </a:extLst>
              </p:cNvPr>
              <p:cNvSpPr/>
              <p:nvPr/>
            </p:nvSpPr>
            <p:spPr>
              <a:xfrm>
                <a:off x="-205749" y="1641736"/>
                <a:ext cx="166787" cy="166112"/>
              </a:xfrm>
              <a:custGeom>
                <a:avLst/>
                <a:gdLst>
                  <a:gd name="connsiteX0" fmla="*/ 166788 w 166787"/>
                  <a:gd name="connsiteY0" fmla="*/ 83009 h 166112"/>
                  <a:gd name="connsiteX1" fmla="*/ 83394 w 166787"/>
                  <a:gd name="connsiteY1" fmla="*/ 0 h 166112"/>
                  <a:gd name="connsiteX2" fmla="*/ 0 w 166787"/>
                  <a:gd name="connsiteY2" fmla="*/ 83009 h 166112"/>
                  <a:gd name="connsiteX3" fmla="*/ 83394 w 166787"/>
                  <a:gd name="connsiteY3" fmla="*/ 166113 h 166112"/>
                  <a:gd name="connsiteX4" fmla="*/ 166788 w 166787"/>
                  <a:gd name="connsiteY4" fmla="*/ 83009 h 166112"/>
                  <a:gd name="connsiteX5" fmla="*/ 166788 w 166787"/>
                  <a:gd name="connsiteY5" fmla="*/ 83009 h 16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787" h="166112">
                    <a:moveTo>
                      <a:pt x="166788" y="83009"/>
                    </a:moveTo>
                    <a:cubicBezTo>
                      <a:pt x="166788" y="37208"/>
                      <a:pt x="129407" y="0"/>
                      <a:pt x="83394" y="0"/>
                    </a:cubicBezTo>
                    <a:cubicBezTo>
                      <a:pt x="37380" y="0"/>
                      <a:pt x="0" y="37208"/>
                      <a:pt x="0" y="83009"/>
                    </a:cubicBezTo>
                    <a:cubicBezTo>
                      <a:pt x="0" y="128811"/>
                      <a:pt x="37380" y="166113"/>
                      <a:pt x="83394" y="166113"/>
                    </a:cubicBezTo>
                    <a:cubicBezTo>
                      <a:pt x="129407" y="166113"/>
                      <a:pt x="166788" y="128905"/>
                      <a:pt x="166788" y="83009"/>
                    </a:cubicBezTo>
                    <a:lnTo>
                      <a:pt x="166788" y="83009"/>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6" name="Freihandform 325">
                <a:extLst>
                  <a:ext uri="{FF2B5EF4-FFF2-40B4-BE49-F238E27FC236}">
                    <a16:creationId xmlns:a16="http://schemas.microsoft.com/office/drawing/2014/main" id="{0B7DD15B-8FB1-73FB-B9CE-473A04B8E820}"/>
                  </a:ext>
                </a:extLst>
              </p:cNvPr>
              <p:cNvSpPr/>
              <p:nvPr/>
            </p:nvSpPr>
            <p:spPr>
              <a:xfrm>
                <a:off x="-166756" y="1680455"/>
                <a:ext cx="88896" cy="88580"/>
              </a:xfrm>
              <a:custGeom>
                <a:avLst/>
                <a:gdLst>
                  <a:gd name="connsiteX0" fmla="*/ 88896 w 88896"/>
                  <a:gd name="connsiteY0" fmla="*/ 44290 h 88580"/>
                  <a:gd name="connsiteX1" fmla="*/ 44401 w 88896"/>
                  <a:gd name="connsiteY1" fmla="*/ 0 h 88580"/>
                  <a:gd name="connsiteX2" fmla="*/ 0 w 88896"/>
                  <a:gd name="connsiteY2" fmla="*/ 44290 h 88580"/>
                  <a:gd name="connsiteX3" fmla="*/ 44401 w 88896"/>
                  <a:gd name="connsiteY3" fmla="*/ 88581 h 88580"/>
                  <a:gd name="connsiteX4" fmla="*/ 88896 w 88896"/>
                  <a:gd name="connsiteY4" fmla="*/ 44290 h 88580"/>
                  <a:gd name="connsiteX5" fmla="*/ 88896 w 88896"/>
                  <a:gd name="connsiteY5" fmla="*/ 44290 h 8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6" h="88580">
                    <a:moveTo>
                      <a:pt x="88896" y="44290"/>
                    </a:moveTo>
                    <a:cubicBezTo>
                      <a:pt x="88896" y="19926"/>
                      <a:pt x="68973" y="0"/>
                      <a:pt x="44401" y="0"/>
                    </a:cubicBezTo>
                    <a:cubicBezTo>
                      <a:pt x="19829" y="0"/>
                      <a:pt x="0" y="19832"/>
                      <a:pt x="0" y="44290"/>
                    </a:cubicBezTo>
                    <a:cubicBezTo>
                      <a:pt x="0" y="68749"/>
                      <a:pt x="19923" y="88581"/>
                      <a:pt x="44401" y="88581"/>
                    </a:cubicBezTo>
                    <a:cubicBezTo>
                      <a:pt x="68878" y="88581"/>
                      <a:pt x="88896" y="68844"/>
                      <a:pt x="88896" y="44290"/>
                    </a:cubicBezTo>
                    <a:lnTo>
                      <a:pt x="88896" y="44290"/>
                    </a:lnTo>
                    <a:close/>
                  </a:path>
                </a:pathLst>
              </a:custGeom>
              <a:solidFill>
                <a:srgbClr val="7A7A79"/>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nvGrpSpPr>
            <p:cNvPr id="43" name="Grafik 473">
              <a:extLst>
                <a:ext uri="{FF2B5EF4-FFF2-40B4-BE49-F238E27FC236}">
                  <a16:creationId xmlns:a16="http://schemas.microsoft.com/office/drawing/2014/main" id="{37654E9D-5D30-56E1-4A08-F15FA8B1ACE6}"/>
                </a:ext>
              </a:extLst>
            </p:cNvPr>
            <p:cNvGrpSpPr/>
            <p:nvPr/>
          </p:nvGrpSpPr>
          <p:grpSpPr>
            <a:xfrm>
              <a:off x="1266023" y="1562032"/>
              <a:ext cx="327029" cy="320232"/>
              <a:chOff x="1266023" y="1562032"/>
              <a:chExt cx="327029" cy="320232"/>
            </a:xfrm>
          </p:grpSpPr>
          <p:sp>
            <p:nvSpPr>
              <p:cNvPr id="75" name="Freihandform 314">
                <a:extLst>
                  <a:ext uri="{FF2B5EF4-FFF2-40B4-BE49-F238E27FC236}">
                    <a16:creationId xmlns:a16="http://schemas.microsoft.com/office/drawing/2014/main" id="{2B767D97-BDCC-E143-BDF5-F4B6A5BC5C24}"/>
                  </a:ext>
                </a:extLst>
              </p:cNvPr>
              <p:cNvSpPr/>
              <p:nvPr/>
            </p:nvSpPr>
            <p:spPr>
              <a:xfrm>
                <a:off x="1402295" y="1733278"/>
                <a:ext cx="24415" cy="24296"/>
              </a:xfrm>
              <a:custGeom>
                <a:avLst/>
                <a:gdLst>
                  <a:gd name="connsiteX0" fmla="*/ 2338 w 24415"/>
                  <a:gd name="connsiteY0" fmla="*/ 5066 h 24296"/>
                  <a:gd name="connsiteX1" fmla="*/ 5089 w 24415"/>
                  <a:gd name="connsiteY1" fmla="*/ 21970 h 24296"/>
                  <a:gd name="connsiteX2" fmla="*/ 22072 w 24415"/>
                  <a:gd name="connsiteY2" fmla="*/ 19231 h 24296"/>
                  <a:gd name="connsiteX3" fmla="*/ 19415 w 24415"/>
                  <a:gd name="connsiteY3" fmla="*/ 2327 h 24296"/>
                  <a:gd name="connsiteX4" fmla="*/ 2338 w 24415"/>
                  <a:gd name="connsiteY4" fmla="*/ 5066 h 24296"/>
                  <a:gd name="connsiteX5" fmla="*/ 2338 w 24415"/>
                  <a:gd name="connsiteY5" fmla="*/ 5066 h 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15" h="24296">
                    <a:moveTo>
                      <a:pt x="2338" y="5066"/>
                    </a:moveTo>
                    <a:cubicBezTo>
                      <a:pt x="-1647" y="10449"/>
                      <a:pt x="-413" y="18098"/>
                      <a:pt x="5089" y="21970"/>
                    </a:cubicBezTo>
                    <a:cubicBezTo>
                      <a:pt x="10497" y="25936"/>
                      <a:pt x="18182" y="24708"/>
                      <a:pt x="22072" y="19231"/>
                    </a:cubicBezTo>
                    <a:cubicBezTo>
                      <a:pt x="26056" y="13848"/>
                      <a:pt x="24823" y="6199"/>
                      <a:pt x="19415" y="2327"/>
                    </a:cubicBezTo>
                    <a:cubicBezTo>
                      <a:pt x="14007" y="-1639"/>
                      <a:pt x="6323" y="-411"/>
                      <a:pt x="2338" y="5066"/>
                    </a:cubicBezTo>
                    <a:lnTo>
                      <a:pt x="2338" y="5066"/>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6" name="Freihandform 315">
                <a:extLst>
                  <a:ext uri="{FF2B5EF4-FFF2-40B4-BE49-F238E27FC236}">
                    <a16:creationId xmlns:a16="http://schemas.microsoft.com/office/drawing/2014/main" id="{C2D88728-E92B-B2A8-FE31-172EBFF24667}"/>
                  </a:ext>
                </a:extLst>
              </p:cNvPr>
              <p:cNvSpPr/>
              <p:nvPr/>
            </p:nvSpPr>
            <p:spPr>
              <a:xfrm>
                <a:off x="1432364" y="1733346"/>
                <a:ext cx="24421" cy="24235"/>
              </a:xfrm>
              <a:custGeom>
                <a:avLst/>
                <a:gdLst>
                  <a:gd name="connsiteX0" fmla="*/ 2439 w 24421"/>
                  <a:gd name="connsiteY0" fmla="*/ 19258 h 24235"/>
                  <a:gd name="connsiteX1" fmla="*/ 19421 w 24421"/>
                  <a:gd name="connsiteY1" fmla="*/ 21902 h 24235"/>
                  <a:gd name="connsiteX2" fmla="*/ 22078 w 24421"/>
                  <a:gd name="connsiteY2" fmla="*/ 4998 h 24235"/>
                  <a:gd name="connsiteX3" fmla="*/ 5000 w 24421"/>
                  <a:gd name="connsiteY3" fmla="*/ 2259 h 24235"/>
                  <a:gd name="connsiteX4" fmla="*/ 2344 w 24421"/>
                  <a:gd name="connsiteY4" fmla="*/ 19258 h 24235"/>
                  <a:gd name="connsiteX5" fmla="*/ 2344 w 24421"/>
                  <a:gd name="connsiteY5" fmla="*/ 19258 h 2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1" h="24235">
                    <a:moveTo>
                      <a:pt x="2439" y="19258"/>
                    </a:moveTo>
                    <a:cubicBezTo>
                      <a:pt x="6423" y="24641"/>
                      <a:pt x="14013" y="25868"/>
                      <a:pt x="19421" y="21902"/>
                    </a:cubicBezTo>
                    <a:cubicBezTo>
                      <a:pt x="24829" y="17936"/>
                      <a:pt x="26062" y="10381"/>
                      <a:pt x="22078" y="4998"/>
                    </a:cubicBezTo>
                    <a:cubicBezTo>
                      <a:pt x="18093" y="-385"/>
                      <a:pt x="10503" y="-1612"/>
                      <a:pt x="5000" y="2259"/>
                    </a:cubicBezTo>
                    <a:cubicBezTo>
                      <a:pt x="-408" y="6226"/>
                      <a:pt x="-1641" y="13781"/>
                      <a:pt x="2344" y="19258"/>
                    </a:cubicBezTo>
                    <a:lnTo>
                      <a:pt x="2344" y="19258"/>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7" name="Freihandform 316">
                <a:extLst>
                  <a:ext uri="{FF2B5EF4-FFF2-40B4-BE49-F238E27FC236}">
                    <a16:creationId xmlns:a16="http://schemas.microsoft.com/office/drawing/2014/main" id="{85DEDDB8-8AF3-01D1-43B2-20C02CDAB486}"/>
                  </a:ext>
                </a:extLst>
              </p:cNvPr>
              <p:cNvSpPr/>
              <p:nvPr/>
            </p:nvSpPr>
            <p:spPr>
              <a:xfrm>
                <a:off x="1266023" y="1562032"/>
                <a:ext cx="327029" cy="320232"/>
              </a:xfrm>
              <a:custGeom>
                <a:avLst/>
                <a:gdLst>
                  <a:gd name="connsiteX0" fmla="*/ 327029 w 327029"/>
                  <a:gd name="connsiteY0" fmla="*/ 162713 h 320232"/>
                  <a:gd name="connsiteX1" fmla="*/ 279118 w 327029"/>
                  <a:gd name="connsiteY1" fmla="*/ 47690 h 320232"/>
                  <a:gd name="connsiteX2" fmla="*/ 163467 w 327029"/>
                  <a:gd name="connsiteY2" fmla="*/ 0 h 320232"/>
                  <a:gd name="connsiteX3" fmla="*/ 47911 w 327029"/>
                  <a:gd name="connsiteY3" fmla="*/ 47690 h 320232"/>
                  <a:gd name="connsiteX4" fmla="*/ 0 w 327029"/>
                  <a:gd name="connsiteY4" fmla="*/ 162713 h 320232"/>
                  <a:gd name="connsiteX5" fmla="*/ 47911 w 327029"/>
                  <a:gd name="connsiteY5" fmla="*/ 277830 h 320232"/>
                  <a:gd name="connsiteX6" fmla="*/ 163467 w 327029"/>
                  <a:gd name="connsiteY6" fmla="*/ 320232 h 320232"/>
                  <a:gd name="connsiteX7" fmla="*/ 279118 w 327029"/>
                  <a:gd name="connsiteY7" fmla="*/ 277830 h 320232"/>
                  <a:gd name="connsiteX8" fmla="*/ 327029 w 327029"/>
                  <a:gd name="connsiteY8" fmla="*/ 162713 h 320232"/>
                  <a:gd name="connsiteX9" fmla="*/ 327029 w 327029"/>
                  <a:gd name="connsiteY9" fmla="*/ 162713 h 32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029" h="320232">
                    <a:moveTo>
                      <a:pt x="327029" y="162713"/>
                    </a:moveTo>
                    <a:cubicBezTo>
                      <a:pt x="327029" y="117762"/>
                      <a:pt x="308718" y="77154"/>
                      <a:pt x="279118" y="47690"/>
                    </a:cubicBezTo>
                    <a:cubicBezTo>
                      <a:pt x="249517" y="18226"/>
                      <a:pt x="208627" y="0"/>
                      <a:pt x="163467" y="0"/>
                    </a:cubicBezTo>
                    <a:cubicBezTo>
                      <a:pt x="118307" y="0"/>
                      <a:pt x="77512" y="18226"/>
                      <a:pt x="47911" y="47690"/>
                    </a:cubicBezTo>
                    <a:cubicBezTo>
                      <a:pt x="18311" y="77154"/>
                      <a:pt x="0" y="117856"/>
                      <a:pt x="0" y="162713"/>
                    </a:cubicBezTo>
                    <a:cubicBezTo>
                      <a:pt x="0" y="207570"/>
                      <a:pt x="18311" y="248366"/>
                      <a:pt x="47911" y="277830"/>
                    </a:cubicBezTo>
                    <a:cubicBezTo>
                      <a:pt x="77512" y="307294"/>
                      <a:pt x="118307" y="320232"/>
                      <a:pt x="163467" y="320232"/>
                    </a:cubicBezTo>
                    <a:cubicBezTo>
                      <a:pt x="208627" y="320232"/>
                      <a:pt x="249517" y="307294"/>
                      <a:pt x="279118" y="277830"/>
                    </a:cubicBezTo>
                    <a:cubicBezTo>
                      <a:pt x="308718" y="248366"/>
                      <a:pt x="327029" y="207665"/>
                      <a:pt x="327029" y="162713"/>
                    </a:cubicBezTo>
                    <a:lnTo>
                      <a:pt x="327029" y="162713"/>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8" name="Freihandform 317">
                <a:extLst>
                  <a:ext uri="{FF2B5EF4-FFF2-40B4-BE49-F238E27FC236}">
                    <a16:creationId xmlns:a16="http://schemas.microsoft.com/office/drawing/2014/main" id="{BB72B65A-5F41-3A70-BBAB-D02F50B69415}"/>
                  </a:ext>
                </a:extLst>
              </p:cNvPr>
              <p:cNvSpPr/>
              <p:nvPr/>
            </p:nvSpPr>
            <p:spPr>
              <a:xfrm>
                <a:off x="1320859" y="1616522"/>
                <a:ext cx="217450" cy="216541"/>
              </a:xfrm>
              <a:custGeom>
                <a:avLst/>
                <a:gdLst>
                  <a:gd name="connsiteX0" fmla="*/ 217450 w 217450"/>
                  <a:gd name="connsiteY0" fmla="*/ 108224 h 216541"/>
                  <a:gd name="connsiteX1" fmla="*/ 108725 w 217450"/>
                  <a:gd name="connsiteY1" fmla="*/ 0 h 216541"/>
                  <a:gd name="connsiteX2" fmla="*/ 0 w 217450"/>
                  <a:gd name="connsiteY2" fmla="*/ 108224 h 216541"/>
                  <a:gd name="connsiteX3" fmla="*/ 108725 w 217450"/>
                  <a:gd name="connsiteY3" fmla="*/ 216541 h 216541"/>
                  <a:gd name="connsiteX4" fmla="*/ 217450 w 217450"/>
                  <a:gd name="connsiteY4" fmla="*/ 108224 h 216541"/>
                  <a:gd name="connsiteX5" fmla="*/ 217450 w 217450"/>
                  <a:gd name="connsiteY5" fmla="*/ 108224 h 21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450" h="216541">
                    <a:moveTo>
                      <a:pt x="217450" y="108224"/>
                    </a:moveTo>
                    <a:cubicBezTo>
                      <a:pt x="217450" y="48540"/>
                      <a:pt x="168685" y="0"/>
                      <a:pt x="108725" y="0"/>
                    </a:cubicBezTo>
                    <a:cubicBezTo>
                      <a:pt x="48765" y="0"/>
                      <a:pt x="0" y="48446"/>
                      <a:pt x="0" y="108224"/>
                    </a:cubicBezTo>
                    <a:cubicBezTo>
                      <a:pt x="0" y="168001"/>
                      <a:pt x="48670" y="216541"/>
                      <a:pt x="108725" y="216541"/>
                    </a:cubicBezTo>
                    <a:cubicBezTo>
                      <a:pt x="168780" y="216541"/>
                      <a:pt x="217450" y="168096"/>
                      <a:pt x="217450" y="108224"/>
                    </a:cubicBezTo>
                    <a:lnTo>
                      <a:pt x="217450" y="108224"/>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9" name="Freihandform 318">
                <a:extLst>
                  <a:ext uri="{FF2B5EF4-FFF2-40B4-BE49-F238E27FC236}">
                    <a16:creationId xmlns:a16="http://schemas.microsoft.com/office/drawing/2014/main" id="{D524A19B-0E5C-C4CC-963A-FB6DA0172BFD}"/>
                  </a:ext>
                </a:extLst>
              </p:cNvPr>
              <p:cNvSpPr/>
              <p:nvPr/>
            </p:nvSpPr>
            <p:spPr>
              <a:xfrm>
                <a:off x="1346191" y="1641736"/>
                <a:ext cx="166787" cy="166112"/>
              </a:xfrm>
              <a:custGeom>
                <a:avLst/>
                <a:gdLst>
                  <a:gd name="connsiteX0" fmla="*/ 166788 w 166787"/>
                  <a:gd name="connsiteY0" fmla="*/ 83009 h 166112"/>
                  <a:gd name="connsiteX1" fmla="*/ 83394 w 166787"/>
                  <a:gd name="connsiteY1" fmla="*/ 0 h 166112"/>
                  <a:gd name="connsiteX2" fmla="*/ 0 w 166787"/>
                  <a:gd name="connsiteY2" fmla="*/ 83009 h 166112"/>
                  <a:gd name="connsiteX3" fmla="*/ 83394 w 166787"/>
                  <a:gd name="connsiteY3" fmla="*/ 166113 h 166112"/>
                  <a:gd name="connsiteX4" fmla="*/ 166788 w 166787"/>
                  <a:gd name="connsiteY4" fmla="*/ 83009 h 166112"/>
                  <a:gd name="connsiteX5" fmla="*/ 166788 w 166787"/>
                  <a:gd name="connsiteY5" fmla="*/ 83009 h 16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787" h="166112">
                    <a:moveTo>
                      <a:pt x="166788" y="83009"/>
                    </a:moveTo>
                    <a:cubicBezTo>
                      <a:pt x="166788" y="37208"/>
                      <a:pt x="129407" y="0"/>
                      <a:pt x="83394" y="0"/>
                    </a:cubicBezTo>
                    <a:cubicBezTo>
                      <a:pt x="37380" y="0"/>
                      <a:pt x="0" y="37208"/>
                      <a:pt x="0" y="83009"/>
                    </a:cubicBezTo>
                    <a:cubicBezTo>
                      <a:pt x="0" y="128811"/>
                      <a:pt x="37380" y="166113"/>
                      <a:pt x="83394" y="166113"/>
                    </a:cubicBezTo>
                    <a:cubicBezTo>
                      <a:pt x="129407" y="166113"/>
                      <a:pt x="166788" y="128905"/>
                      <a:pt x="166788" y="83009"/>
                    </a:cubicBezTo>
                    <a:lnTo>
                      <a:pt x="166788" y="83009"/>
                    </a:lnTo>
                    <a:close/>
                  </a:path>
                </a:pathLst>
              </a:custGeom>
              <a:solidFill>
                <a:srgbClr val="C3C3C4"/>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80" name="Freihandform 319">
                <a:extLst>
                  <a:ext uri="{FF2B5EF4-FFF2-40B4-BE49-F238E27FC236}">
                    <a16:creationId xmlns:a16="http://schemas.microsoft.com/office/drawing/2014/main" id="{7590C290-471B-852C-9906-92F61650927D}"/>
                  </a:ext>
                </a:extLst>
              </p:cNvPr>
              <p:cNvSpPr/>
              <p:nvPr/>
            </p:nvSpPr>
            <p:spPr>
              <a:xfrm>
                <a:off x="1385184" y="1680455"/>
                <a:ext cx="88896" cy="88580"/>
              </a:xfrm>
              <a:custGeom>
                <a:avLst/>
                <a:gdLst>
                  <a:gd name="connsiteX0" fmla="*/ 88896 w 88896"/>
                  <a:gd name="connsiteY0" fmla="*/ 44290 h 88580"/>
                  <a:gd name="connsiteX1" fmla="*/ 44401 w 88896"/>
                  <a:gd name="connsiteY1" fmla="*/ 0 h 88580"/>
                  <a:gd name="connsiteX2" fmla="*/ 0 w 88896"/>
                  <a:gd name="connsiteY2" fmla="*/ 44290 h 88580"/>
                  <a:gd name="connsiteX3" fmla="*/ 44401 w 88896"/>
                  <a:gd name="connsiteY3" fmla="*/ 88581 h 88580"/>
                  <a:gd name="connsiteX4" fmla="*/ 88896 w 88896"/>
                  <a:gd name="connsiteY4" fmla="*/ 44290 h 88580"/>
                  <a:gd name="connsiteX5" fmla="*/ 88896 w 88896"/>
                  <a:gd name="connsiteY5" fmla="*/ 44290 h 8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6" h="88580">
                    <a:moveTo>
                      <a:pt x="88896" y="44290"/>
                    </a:moveTo>
                    <a:cubicBezTo>
                      <a:pt x="88896" y="19926"/>
                      <a:pt x="68973" y="0"/>
                      <a:pt x="44401" y="0"/>
                    </a:cubicBezTo>
                    <a:cubicBezTo>
                      <a:pt x="19829" y="0"/>
                      <a:pt x="0" y="19832"/>
                      <a:pt x="0" y="44290"/>
                    </a:cubicBezTo>
                    <a:cubicBezTo>
                      <a:pt x="0" y="68749"/>
                      <a:pt x="19923" y="88581"/>
                      <a:pt x="44401" y="88581"/>
                    </a:cubicBezTo>
                    <a:cubicBezTo>
                      <a:pt x="68878" y="88581"/>
                      <a:pt x="88896" y="68844"/>
                      <a:pt x="88896" y="44290"/>
                    </a:cubicBezTo>
                    <a:lnTo>
                      <a:pt x="88896" y="44290"/>
                    </a:lnTo>
                    <a:close/>
                  </a:path>
                </a:pathLst>
              </a:custGeom>
              <a:solidFill>
                <a:srgbClr val="7A7A79"/>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sp>
          <p:nvSpPr>
            <p:cNvPr id="44" name="Freihandform 267">
              <a:extLst>
                <a:ext uri="{FF2B5EF4-FFF2-40B4-BE49-F238E27FC236}">
                  <a16:creationId xmlns:a16="http://schemas.microsoft.com/office/drawing/2014/main" id="{CAE96019-1A6A-0EC8-7AA1-8668525F1E21}"/>
                </a:ext>
              </a:extLst>
            </p:cNvPr>
            <p:cNvSpPr/>
            <p:nvPr/>
          </p:nvSpPr>
          <p:spPr>
            <a:xfrm>
              <a:off x="1500360" y="1321504"/>
              <a:ext cx="143258" cy="79137"/>
            </a:xfrm>
            <a:custGeom>
              <a:avLst/>
              <a:gdLst>
                <a:gd name="connsiteX0" fmla="*/ 143259 w 143258"/>
                <a:gd name="connsiteY0" fmla="*/ 79043 h 79137"/>
                <a:gd name="connsiteX1" fmla="*/ 143259 w 143258"/>
                <a:gd name="connsiteY1" fmla="*/ 18982 h 79137"/>
                <a:gd name="connsiteX2" fmla="*/ 0 w 143258"/>
                <a:gd name="connsiteY2" fmla="*/ 0 h 79137"/>
                <a:gd name="connsiteX3" fmla="*/ 143259 w 143258"/>
                <a:gd name="connsiteY3" fmla="*/ 79137 h 79137"/>
              </a:gdLst>
              <a:ahLst/>
              <a:cxnLst>
                <a:cxn ang="0">
                  <a:pos x="connsiteX0" y="connsiteY0"/>
                </a:cxn>
                <a:cxn ang="0">
                  <a:pos x="connsiteX1" y="connsiteY1"/>
                </a:cxn>
                <a:cxn ang="0">
                  <a:pos x="connsiteX2" y="connsiteY2"/>
                </a:cxn>
                <a:cxn ang="0">
                  <a:pos x="connsiteX3" y="connsiteY3"/>
                </a:cxn>
              </a:cxnLst>
              <a:rect l="l" t="t" r="r" b="b"/>
              <a:pathLst>
                <a:path w="143258" h="79137">
                  <a:moveTo>
                    <a:pt x="143259" y="79043"/>
                  </a:moveTo>
                  <a:lnTo>
                    <a:pt x="143259" y="18982"/>
                  </a:lnTo>
                  <a:lnTo>
                    <a:pt x="0" y="0"/>
                  </a:lnTo>
                  <a:cubicBezTo>
                    <a:pt x="0" y="0"/>
                    <a:pt x="73242" y="43063"/>
                    <a:pt x="143259" y="79137"/>
                  </a:cubicBez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nvGrpSpPr>
            <p:cNvPr id="45" name="Grafik 473">
              <a:extLst>
                <a:ext uri="{FF2B5EF4-FFF2-40B4-BE49-F238E27FC236}">
                  <a16:creationId xmlns:a16="http://schemas.microsoft.com/office/drawing/2014/main" id="{C063FB53-3DB8-5889-A8FC-6FF56FF1DBA4}"/>
                </a:ext>
              </a:extLst>
            </p:cNvPr>
            <p:cNvGrpSpPr/>
            <p:nvPr/>
          </p:nvGrpSpPr>
          <p:grpSpPr>
            <a:xfrm>
              <a:off x="-480883" y="843564"/>
              <a:ext cx="1145407" cy="576814"/>
              <a:chOff x="-480883" y="843564"/>
              <a:chExt cx="1145407" cy="576814"/>
            </a:xfrm>
          </p:grpSpPr>
          <p:sp>
            <p:nvSpPr>
              <p:cNvPr id="65" name="Freihandform 304">
                <a:extLst>
                  <a:ext uri="{FF2B5EF4-FFF2-40B4-BE49-F238E27FC236}">
                    <a16:creationId xmlns:a16="http://schemas.microsoft.com/office/drawing/2014/main" id="{E258FC37-0CF9-37D7-1E92-1F26B652077C}"/>
                  </a:ext>
                </a:extLst>
              </p:cNvPr>
              <p:cNvSpPr/>
              <p:nvPr/>
            </p:nvSpPr>
            <p:spPr>
              <a:xfrm>
                <a:off x="-480883" y="843564"/>
                <a:ext cx="6071" cy="576814"/>
              </a:xfrm>
              <a:custGeom>
                <a:avLst/>
                <a:gdLst>
                  <a:gd name="connsiteX0" fmla="*/ 0 w 6071"/>
                  <a:gd name="connsiteY0" fmla="*/ 0 h 576814"/>
                  <a:gd name="connsiteX1" fmla="*/ 0 w 6071"/>
                  <a:gd name="connsiteY1" fmla="*/ 576814 h 576814"/>
                  <a:gd name="connsiteX2" fmla="*/ 6072 w 6071"/>
                  <a:gd name="connsiteY2" fmla="*/ 576814 h 576814"/>
                  <a:gd name="connsiteX3" fmla="*/ 6072 w 6071"/>
                  <a:gd name="connsiteY3" fmla="*/ 0 h 576814"/>
                </a:gdLst>
                <a:ahLst/>
                <a:cxnLst>
                  <a:cxn ang="0">
                    <a:pos x="connsiteX0" y="connsiteY0"/>
                  </a:cxn>
                  <a:cxn ang="0">
                    <a:pos x="connsiteX1" y="connsiteY1"/>
                  </a:cxn>
                  <a:cxn ang="0">
                    <a:pos x="connsiteX2" y="connsiteY2"/>
                  </a:cxn>
                  <a:cxn ang="0">
                    <a:pos x="connsiteX3" y="connsiteY3"/>
                  </a:cxn>
                </a:cxnLst>
                <a:rect l="l" t="t" r="r" b="b"/>
                <a:pathLst>
                  <a:path w="6071" h="576814">
                    <a:moveTo>
                      <a:pt x="0" y="0"/>
                    </a:moveTo>
                    <a:lnTo>
                      <a:pt x="0" y="576814"/>
                    </a:lnTo>
                    <a:lnTo>
                      <a:pt x="6072" y="576814"/>
                    </a:lnTo>
                    <a:lnTo>
                      <a:pt x="6072" y="0"/>
                    </a:lnTo>
                  </a:path>
                </a:pathLst>
              </a:custGeom>
              <a:solidFill>
                <a:srgbClr val="DC9A02"/>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6" name="Freihandform 305">
                <a:extLst>
                  <a:ext uri="{FF2B5EF4-FFF2-40B4-BE49-F238E27FC236}">
                    <a16:creationId xmlns:a16="http://schemas.microsoft.com/office/drawing/2014/main" id="{3DEC6CB0-32C1-4FDC-BB49-B6B0ADB6B8A9}"/>
                  </a:ext>
                </a:extLst>
              </p:cNvPr>
              <p:cNvSpPr/>
              <p:nvPr/>
            </p:nvSpPr>
            <p:spPr>
              <a:xfrm>
                <a:off x="-476803" y="843753"/>
                <a:ext cx="1121310" cy="6043"/>
              </a:xfrm>
              <a:custGeom>
                <a:avLst/>
                <a:gdLst>
                  <a:gd name="connsiteX0" fmla="*/ 0 w 1121310"/>
                  <a:gd name="connsiteY0" fmla="*/ 6044 h 6043"/>
                  <a:gd name="connsiteX1" fmla="*/ 1121310 w 1121310"/>
                  <a:gd name="connsiteY1" fmla="*/ 6044 h 6043"/>
                  <a:gd name="connsiteX2" fmla="*/ 1121310 w 1121310"/>
                  <a:gd name="connsiteY2" fmla="*/ 0 h 6043"/>
                  <a:gd name="connsiteX3" fmla="*/ 0 w 1121310"/>
                  <a:gd name="connsiteY3" fmla="*/ 0 h 6043"/>
                </a:gdLst>
                <a:ahLst/>
                <a:cxnLst>
                  <a:cxn ang="0">
                    <a:pos x="connsiteX0" y="connsiteY0"/>
                  </a:cxn>
                  <a:cxn ang="0">
                    <a:pos x="connsiteX1" y="connsiteY1"/>
                  </a:cxn>
                  <a:cxn ang="0">
                    <a:pos x="connsiteX2" y="connsiteY2"/>
                  </a:cxn>
                  <a:cxn ang="0">
                    <a:pos x="connsiteX3" y="connsiteY3"/>
                  </a:cxn>
                </a:cxnLst>
                <a:rect l="l" t="t" r="r" b="b"/>
                <a:pathLst>
                  <a:path w="1121310" h="6043">
                    <a:moveTo>
                      <a:pt x="0" y="6044"/>
                    </a:moveTo>
                    <a:lnTo>
                      <a:pt x="1121310" y="6044"/>
                    </a:lnTo>
                    <a:lnTo>
                      <a:pt x="1121310" y="0"/>
                    </a:lnTo>
                    <a:lnTo>
                      <a:pt x="0" y="0"/>
                    </a:lnTo>
                  </a:path>
                </a:pathLst>
              </a:custGeom>
              <a:solidFill>
                <a:srgbClr val="DC9A02"/>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7" name="Freihandform 306">
                <a:extLst>
                  <a:ext uri="{FF2B5EF4-FFF2-40B4-BE49-F238E27FC236}">
                    <a16:creationId xmlns:a16="http://schemas.microsoft.com/office/drawing/2014/main" id="{4A0C3F62-0B73-E03D-FBF9-50035A3DC2EC}"/>
                  </a:ext>
                </a:extLst>
              </p:cNvPr>
              <p:cNvSpPr/>
              <p:nvPr/>
            </p:nvSpPr>
            <p:spPr>
              <a:xfrm>
                <a:off x="70806" y="843564"/>
                <a:ext cx="6071" cy="576814"/>
              </a:xfrm>
              <a:custGeom>
                <a:avLst/>
                <a:gdLst>
                  <a:gd name="connsiteX0" fmla="*/ 0 w 6071"/>
                  <a:gd name="connsiteY0" fmla="*/ 0 h 576814"/>
                  <a:gd name="connsiteX1" fmla="*/ 0 w 6071"/>
                  <a:gd name="connsiteY1" fmla="*/ 576814 h 576814"/>
                  <a:gd name="connsiteX2" fmla="*/ 6072 w 6071"/>
                  <a:gd name="connsiteY2" fmla="*/ 576814 h 576814"/>
                  <a:gd name="connsiteX3" fmla="*/ 6072 w 6071"/>
                  <a:gd name="connsiteY3" fmla="*/ 0 h 576814"/>
                </a:gdLst>
                <a:ahLst/>
                <a:cxnLst>
                  <a:cxn ang="0">
                    <a:pos x="connsiteX0" y="connsiteY0"/>
                  </a:cxn>
                  <a:cxn ang="0">
                    <a:pos x="connsiteX1" y="connsiteY1"/>
                  </a:cxn>
                  <a:cxn ang="0">
                    <a:pos x="connsiteX2" y="connsiteY2"/>
                  </a:cxn>
                  <a:cxn ang="0">
                    <a:pos x="connsiteX3" y="connsiteY3"/>
                  </a:cxn>
                </a:cxnLst>
                <a:rect l="l" t="t" r="r" b="b"/>
                <a:pathLst>
                  <a:path w="6071" h="576814">
                    <a:moveTo>
                      <a:pt x="0" y="0"/>
                    </a:moveTo>
                    <a:lnTo>
                      <a:pt x="0" y="576814"/>
                    </a:lnTo>
                    <a:lnTo>
                      <a:pt x="6072" y="576814"/>
                    </a:lnTo>
                    <a:lnTo>
                      <a:pt x="6072" y="0"/>
                    </a:lnTo>
                  </a:path>
                </a:pathLst>
              </a:custGeom>
              <a:solidFill>
                <a:srgbClr val="DC9A02"/>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8" name="Freihandform 307">
                <a:extLst>
                  <a:ext uri="{FF2B5EF4-FFF2-40B4-BE49-F238E27FC236}">
                    <a16:creationId xmlns:a16="http://schemas.microsoft.com/office/drawing/2014/main" id="{2EA8049F-7484-CD50-70DA-9697DDA1B83D}"/>
                  </a:ext>
                </a:extLst>
              </p:cNvPr>
              <p:cNvSpPr/>
              <p:nvPr/>
            </p:nvSpPr>
            <p:spPr>
              <a:xfrm>
                <a:off x="638245" y="843564"/>
                <a:ext cx="6071" cy="576814"/>
              </a:xfrm>
              <a:custGeom>
                <a:avLst/>
                <a:gdLst>
                  <a:gd name="connsiteX0" fmla="*/ 0 w 6071"/>
                  <a:gd name="connsiteY0" fmla="*/ 0 h 576814"/>
                  <a:gd name="connsiteX1" fmla="*/ 0 w 6071"/>
                  <a:gd name="connsiteY1" fmla="*/ 576814 h 576814"/>
                  <a:gd name="connsiteX2" fmla="*/ 6072 w 6071"/>
                  <a:gd name="connsiteY2" fmla="*/ 576814 h 576814"/>
                  <a:gd name="connsiteX3" fmla="*/ 6072 w 6071"/>
                  <a:gd name="connsiteY3" fmla="*/ 0 h 576814"/>
                </a:gdLst>
                <a:ahLst/>
                <a:cxnLst>
                  <a:cxn ang="0">
                    <a:pos x="connsiteX0" y="connsiteY0"/>
                  </a:cxn>
                  <a:cxn ang="0">
                    <a:pos x="connsiteX1" y="connsiteY1"/>
                  </a:cxn>
                  <a:cxn ang="0">
                    <a:pos x="connsiteX2" y="connsiteY2"/>
                  </a:cxn>
                  <a:cxn ang="0">
                    <a:pos x="connsiteX3" y="connsiteY3"/>
                  </a:cxn>
                </a:cxnLst>
                <a:rect l="l" t="t" r="r" b="b"/>
                <a:pathLst>
                  <a:path w="6071" h="576814">
                    <a:moveTo>
                      <a:pt x="0" y="0"/>
                    </a:moveTo>
                    <a:lnTo>
                      <a:pt x="0" y="576814"/>
                    </a:lnTo>
                    <a:lnTo>
                      <a:pt x="6072" y="576814"/>
                    </a:lnTo>
                    <a:lnTo>
                      <a:pt x="6072" y="0"/>
                    </a:lnTo>
                  </a:path>
                </a:pathLst>
              </a:custGeom>
              <a:solidFill>
                <a:srgbClr val="DC9A02"/>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9" name="Freihandform 308">
                <a:extLst>
                  <a:ext uri="{FF2B5EF4-FFF2-40B4-BE49-F238E27FC236}">
                    <a16:creationId xmlns:a16="http://schemas.microsoft.com/office/drawing/2014/main" id="{749038B0-1AEA-C56D-EEB6-6BFDC85BDCEC}"/>
                  </a:ext>
                </a:extLst>
              </p:cNvPr>
              <p:cNvSpPr/>
              <p:nvPr/>
            </p:nvSpPr>
            <p:spPr>
              <a:xfrm>
                <a:off x="606177" y="1295062"/>
                <a:ext cx="31877" cy="121444"/>
              </a:xfrm>
              <a:custGeom>
                <a:avLst/>
                <a:gdLst>
                  <a:gd name="connsiteX0" fmla="*/ 17836 w 31877"/>
                  <a:gd name="connsiteY0" fmla="*/ 0 h 121444"/>
                  <a:gd name="connsiteX1" fmla="*/ 31878 w 31877"/>
                  <a:gd name="connsiteY1" fmla="*/ 13976 h 121444"/>
                  <a:gd name="connsiteX2" fmla="*/ 31878 w 31877"/>
                  <a:gd name="connsiteY2" fmla="*/ 107468 h 121444"/>
                  <a:gd name="connsiteX3" fmla="*/ 17836 w 31877"/>
                  <a:gd name="connsiteY3" fmla="*/ 121445 h 121444"/>
                  <a:gd name="connsiteX4" fmla="*/ 14041 w 31877"/>
                  <a:gd name="connsiteY4" fmla="*/ 121445 h 121444"/>
                  <a:gd name="connsiteX5" fmla="*/ 0 w 31877"/>
                  <a:gd name="connsiteY5" fmla="*/ 107468 h 121444"/>
                  <a:gd name="connsiteX6" fmla="*/ 0 w 31877"/>
                  <a:gd name="connsiteY6" fmla="*/ 13976 h 121444"/>
                  <a:gd name="connsiteX7" fmla="*/ 14041 w 31877"/>
                  <a:gd name="connsiteY7" fmla="*/ 0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77" h="121444">
                    <a:moveTo>
                      <a:pt x="17836" y="0"/>
                    </a:moveTo>
                    <a:cubicBezTo>
                      <a:pt x="25591" y="0"/>
                      <a:pt x="31878" y="6257"/>
                      <a:pt x="31878" y="13976"/>
                    </a:cubicBezTo>
                    <a:lnTo>
                      <a:pt x="31878" y="107468"/>
                    </a:lnTo>
                    <a:cubicBezTo>
                      <a:pt x="31878" y="115187"/>
                      <a:pt x="25591" y="121445"/>
                      <a:pt x="17836" y="121445"/>
                    </a:cubicBezTo>
                    <a:lnTo>
                      <a:pt x="14041" y="121445"/>
                    </a:lnTo>
                    <a:cubicBezTo>
                      <a:pt x="6286" y="121445"/>
                      <a:pt x="0" y="115187"/>
                      <a:pt x="0" y="107468"/>
                    </a:cubicBezTo>
                    <a:lnTo>
                      <a:pt x="0" y="13976"/>
                    </a:lnTo>
                    <a:cubicBezTo>
                      <a:pt x="0" y="6257"/>
                      <a:pt x="6286" y="0"/>
                      <a:pt x="14041" y="0"/>
                    </a:cubicBez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0" name="Freihandform 309">
                <a:extLst>
                  <a:ext uri="{FF2B5EF4-FFF2-40B4-BE49-F238E27FC236}">
                    <a16:creationId xmlns:a16="http://schemas.microsoft.com/office/drawing/2014/main" id="{10C85FA5-09CA-6CBD-3D8C-17F2DAB0B79A}"/>
                  </a:ext>
                </a:extLst>
              </p:cNvPr>
              <p:cNvSpPr/>
              <p:nvPr/>
            </p:nvSpPr>
            <p:spPr>
              <a:xfrm>
                <a:off x="632647" y="1310927"/>
                <a:ext cx="31877" cy="36924"/>
              </a:xfrm>
              <a:custGeom>
                <a:avLst/>
                <a:gdLst>
                  <a:gd name="connsiteX0" fmla="*/ 0 w 31877"/>
                  <a:gd name="connsiteY0" fmla="*/ 0 h 36924"/>
                  <a:gd name="connsiteX1" fmla="*/ 31877 w 31877"/>
                  <a:gd name="connsiteY1" fmla="*/ 0 h 36924"/>
                  <a:gd name="connsiteX2" fmla="*/ 31877 w 31877"/>
                  <a:gd name="connsiteY2" fmla="*/ 36924 h 36924"/>
                  <a:gd name="connsiteX3" fmla="*/ 0 w 31877"/>
                  <a:gd name="connsiteY3" fmla="*/ 36924 h 36924"/>
                </a:gdLst>
                <a:ahLst/>
                <a:cxnLst>
                  <a:cxn ang="0">
                    <a:pos x="connsiteX0" y="connsiteY0"/>
                  </a:cxn>
                  <a:cxn ang="0">
                    <a:pos x="connsiteX1" y="connsiteY1"/>
                  </a:cxn>
                  <a:cxn ang="0">
                    <a:pos x="connsiteX2" y="connsiteY2"/>
                  </a:cxn>
                  <a:cxn ang="0">
                    <a:pos x="connsiteX3" y="connsiteY3"/>
                  </a:cxn>
                </a:cxnLst>
                <a:rect l="l" t="t" r="r" b="b"/>
                <a:pathLst>
                  <a:path w="31877" h="36924">
                    <a:moveTo>
                      <a:pt x="0" y="0"/>
                    </a:moveTo>
                    <a:lnTo>
                      <a:pt x="31877" y="0"/>
                    </a:lnTo>
                    <a:lnTo>
                      <a:pt x="31877" y="36924"/>
                    </a:lnTo>
                    <a:lnTo>
                      <a:pt x="0" y="36924"/>
                    </a:lnTo>
                    <a:close/>
                  </a:path>
                </a:pathLst>
              </a:custGeom>
              <a:solidFill>
                <a:srgbClr val="30302D"/>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1" name="Freihandform 310">
                <a:extLst>
                  <a:ext uri="{FF2B5EF4-FFF2-40B4-BE49-F238E27FC236}">
                    <a16:creationId xmlns:a16="http://schemas.microsoft.com/office/drawing/2014/main" id="{D1EF2800-800F-EB7D-96C0-3123BBB8FB3D}"/>
                  </a:ext>
                </a:extLst>
              </p:cNvPr>
              <p:cNvSpPr/>
              <p:nvPr/>
            </p:nvSpPr>
            <p:spPr>
              <a:xfrm>
                <a:off x="104201" y="1414240"/>
                <a:ext cx="480439" cy="5949"/>
              </a:xfrm>
              <a:custGeom>
                <a:avLst/>
                <a:gdLst>
                  <a:gd name="connsiteX0" fmla="*/ 480440 w 480439"/>
                  <a:gd name="connsiteY0" fmla="*/ 0 h 5949"/>
                  <a:gd name="connsiteX1" fmla="*/ 0 w 480439"/>
                  <a:gd name="connsiteY1" fmla="*/ 0 h 5949"/>
                  <a:gd name="connsiteX2" fmla="*/ 0 w 480439"/>
                  <a:gd name="connsiteY2" fmla="*/ 5950 h 5949"/>
                  <a:gd name="connsiteX3" fmla="*/ 480440 w 480439"/>
                  <a:gd name="connsiteY3" fmla="*/ 5950 h 5949"/>
                </a:gdLst>
                <a:ahLst/>
                <a:cxnLst>
                  <a:cxn ang="0">
                    <a:pos x="connsiteX0" y="connsiteY0"/>
                  </a:cxn>
                  <a:cxn ang="0">
                    <a:pos x="connsiteX1" y="connsiteY1"/>
                  </a:cxn>
                  <a:cxn ang="0">
                    <a:pos x="connsiteX2" y="connsiteY2"/>
                  </a:cxn>
                  <a:cxn ang="0">
                    <a:pos x="connsiteX3" y="connsiteY3"/>
                  </a:cxn>
                </a:cxnLst>
                <a:rect l="l" t="t" r="r" b="b"/>
                <a:pathLst>
                  <a:path w="480439" h="5949">
                    <a:moveTo>
                      <a:pt x="480440" y="0"/>
                    </a:moveTo>
                    <a:lnTo>
                      <a:pt x="0" y="0"/>
                    </a:lnTo>
                    <a:lnTo>
                      <a:pt x="0" y="5950"/>
                    </a:lnTo>
                    <a:lnTo>
                      <a:pt x="480440" y="5950"/>
                    </a:lnTo>
                  </a:path>
                </a:pathLst>
              </a:custGeom>
              <a:solidFill>
                <a:srgbClr val="FFE58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2" name="Freihandform 311">
                <a:extLst>
                  <a:ext uri="{FF2B5EF4-FFF2-40B4-BE49-F238E27FC236}">
                    <a16:creationId xmlns:a16="http://schemas.microsoft.com/office/drawing/2014/main" id="{00643374-A7BB-DF2D-F8AD-F713CDFF2971}"/>
                  </a:ext>
                </a:extLst>
              </p:cNvPr>
              <p:cNvSpPr/>
              <p:nvPr/>
            </p:nvSpPr>
            <p:spPr>
              <a:xfrm>
                <a:off x="104201" y="875672"/>
                <a:ext cx="480439" cy="5855"/>
              </a:xfrm>
              <a:custGeom>
                <a:avLst/>
                <a:gdLst>
                  <a:gd name="connsiteX0" fmla="*/ 480440 w 480439"/>
                  <a:gd name="connsiteY0" fmla="*/ 0 h 5855"/>
                  <a:gd name="connsiteX1" fmla="*/ 0 w 480439"/>
                  <a:gd name="connsiteY1" fmla="*/ 0 h 5855"/>
                  <a:gd name="connsiteX2" fmla="*/ 0 w 480439"/>
                  <a:gd name="connsiteY2" fmla="*/ 5855 h 5855"/>
                  <a:gd name="connsiteX3" fmla="*/ 480440 w 480439"/>
                  <a:gd name="connsiteY3" fmla="*/ 5855 h 5855"/>
                </a:gdLst>
                <a:ahLst/>
                <a:cxnLst>
                  <a:cxn ang="0">
                    <a:pos x="connsiteX0" y="connsiteY0"/>
                  </a:cxn>
                  <a:cxn ang="0">
                    <a:pos x="connsiteX1" y="connsiteY1"/>
                  </a:cxn>
                  <a:cxn ang="0">
                    <a:pos x="connsiteX2" y="connsiteY2"/>
                  </a:cxn>
                  <a:cxn ang="0">
                    <a:pos x="connsiteX3" y="connsiteY3"/>
                  </a:cxn>
                </a:cxnLst>
                <a:rect l="l" t="t" r="r" b="b"/>
                <a:pathLst>
                  <a:path w="480439" h="5855">
                    <a:moveTo>
                      <a:pt x="480440" y="0"/>
                    </a:moveTo>
                    <a:lnTo>
                      <a:pt x="0" y="0"/>
                    </a:lnTo>
                    <a:lnTo>
                      <a:pt x="0" y="5855"/>
                    </a:lnTo>
                    <a:lnTo>
                      <a:pt x="480440" y="5855"/>
                    </a:lnTo>
                  </a:path>
                </a:pathLst>
              </a:custGeom>
              <a:solidFill>
                <a:srgbClr val="FFE58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3" name="Freihandform 312">
                <a:extLst>
                  <a:ext uri="{FF2B5EF4-FFF2-40B4-BE49-F238E27FC236}">
                    <a16:creationId xmlns:a16="http://schemas.microsoft.com/office/drawing/2014/main" id="{BBE3A4B1-CBC7-77B3-D030-DA024AA44643}"/>
                  </a:ext>
                </a:extLst>
              </p:cNvPr>
              <p:cNvSpPr/>
              <p:nvPr/>
            </p:nvSpPr>
            <p:spPr>
              <a:xfrm>
                <a:off x="-447582" y="875672"/>
                <a:ext cx="488313" cy="5855"/>
              </a:xfrm>
              <a:custGeom>
                <a:avLst/>
                <a:gdLst>
                  <a:gd name="connsiteX0" fmla="*/ 488314 w 488313"/>
                  <a:gd name="connsiteY0" fmla="*/ 0 h 5855"/>
                  <a:gd name="connsiteX1" fmla="*/ 0 w 488313"/>
                  <a:gd name="connsiteY1" fmla="*/ 0 h 5855"/>
                  <a:gd name="connsiteX2" fmla="*/ 0 w 488313"/>
                  <a:gd name="connsiteY2" fmla="*/ 5855 h 5855"/>
                  <a:gd name="connsiteX3" fmla="*/ 488314 w 488313"/>
                  <a:gd name="connsiteY3" fmla="*/ 5855 h 5855"/>
                </a:gdLst>
                <a:ahLst/>
                <a:cxnLst>
                  <a:cxn ang="0">
                    <a:pos x="connsiteX0" y="connsiteY0"/>
                  </a:cxn>
                  <a:cxn ang="0">
                    <a:pos x="connsiteX1" y="connsiteY1"/>
                  </a:cxn>
                  <a:cxn ang="0">
                    <a:pos x="connsiteX2" y="connsiteY2"/>
                  </a:cxn>
                  <a:cxn ang="0">
                    <a:pos x="connsiteX3" y="connsiteY3"/>
                  </a:cxn>
                </a:cxnLst>
                <a:rect l="l" t="t" r="r" b="b"/>
                <a:pathLst>
                  <a:path w="488313" h="5855">
                    <a:moveTo>
                      <a:pt x="488314" y="0"/>
                    </a:moveTo>
                    <a:lnTo>
                      <a:pt x="0" y="0"/>
                    </a:lnTo>
                    <a:lnTo>
                      <a:pt x="0" y="5855"/>
                    </a:lnTo>
                    <a:lnTo>
                      <a:pt x="488314" y="5855"/>
                    </a:lnTo>
                  </a:path>
                </a:pathLst>
              </a:custGeom>
              <a:solidFill>
                <a:srgbClr val="FFE58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74" name="Freihandform 313">
                <a:extLst>
                  <a:ext uri="{FF2B5EF4-FFF2-40B4-BE49-F238E27FC236}">
                    <a16:creationId xmlns:a16="http://schemas.microsoft.com/office/drawing/2014/main" id="{ECEDC5C2-F792-9303-2D84-7448CDE55965}"/>
                  </a:ext>
                </a:extLst>
              </p:cNvPr>
              <p:cNvSpPr/>
              <p:nvPr/>
            </p:nvSpPr>
            <p:spPr>
              <a:xfrm>
                <a:off x="-447582" y="1414240"/>
                <a:ext cx="488313" cy="5949"/>
              </a:xfrm>
              <a:custGeom>
                <a:avLst/>
                <a:gdLst>
                  <a:gd name="connsiteX0" fmla="*/ 488314 w 488313"/>
                  <a:gd name="connsiteY0" fmla="*/ 0 h 5949"/>
                  <a:gd name="connsiteX1" fmla="*/ 0 w 488313"/>
                  <a:gd name="connsiteY1" fmla="*/ 0 h 5949"/>
                  <a:gd name="connsiteX2" fmla="*/ 0 w 488313"/>
                  <a:gd name="connsiteY2" fmla="*/ 5950 h 5949"/>
                  <a:gd name="connsiteX3" fmla="*/ 488314 w 488313"/>
                  <a:gd name="connsiteY3" fmla="*/ 5950 h 5949"/>
                </a:gdLst>
                <a:ahLst/>
                <a:cxnLst>
                  <a:cxn ang="0">
                    <a:pos x="connsiteX0" y="connsiteY0"/>
                  </a:cxn>
                  <a:cxn ang="0">
                    <a:pos x="connsiteX1" y="connsiteY1"/>
                  </a:cxn>
                  <a:cxn ang="0">
                    <a:pos x="connsiteX2" y="connsiteY2"/>
                  </a:cxn>
                  <a:cxn ang="0">
                    <a:pos x="connsiteX3" y="connsiteY3"/>
                  </a:cxn>
                </a:cxnLst>
                <a:rect l="l" t="t" r="r" b="b"/>
                <a:pathLst>
                  <a:path w="488313" h="5949">
                    <a:moveTo>
                      <a:pt x="488314" y="0"/>
                    </a:moveTo>
                    <a:lnTo>
                      <a:pt x="0" y="0"/>
                    </a:lnTo>
                    <a:lnTo>
                      <a:pt x="0" y="5950"/>
                    </a:lnTo>
                    <a:lnTo>
                      <a:pt x="488314" y="5950"/>
                    </a:lnTo>
                  </a:path>
                </a:pathLst>
              </a:custGeom>
              <a:solidFill>
                <a:srgbClr val="FFE580"/>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nvGrpSpPr>
            <p:cNvPr id="46" name="Grafik 473">
              <a:extLst>
                <a:ext uri="{FF2B5EF4-FFF2-40B4-BE49-F238E27FC236}">
                  <a16:creationId xmlns:a16="http://schemas.microsoft.com/office/drawing/2014/main" id="{1774C841-D0B2-2916-2047-EEE059418543}"/>
                </a:ext>
              </a:extLst>
            </p:cNvPr>
            <p:cNvGrpSpPr/>
            <p:nvPr/>
          </p:nvGrpSpPr>
          <p:grpSpPr>
            <a:xfrm>
              <a:off x="-409063" y="964159"/>
              <a:ext cx="399038" cy="56189"/>
              <a:chOff x="-409063" y="964159"/>
              <a:chExt cx="399038" cy="56189"/>
            </a:xfrm>
            <a:solidFill>
              <a:srgbClr val="D40511"/>
            </a:solidFill>
          </p:grpSpPr>
          <p:grpSp>
            <p:nvGrpSpPr>
              <p:cNvPr id="47" name="Grafik 473">
                <a:extLst>
                  <a:ext uri="{FF2B5EF4-FFF2-40B4-BE49-F238E27FC236}">
                    <a16:creationId xmlns:a16="http://schemas.microsoft.com/office/drawing/2014/main" id="{CB812AAC-125E-3761-3A4A-9F39BCC39D83}"/>
                  </a:ext>
                </a:extLst>
              </p:cNvPr>
              <p:cNvGrpSpPr/>
              <p:nvPr/>
            </p:nvGrpSpPr>
            <p:grpSpPr>
              <a:xfrm>
                <a:off x="-409063" y="1001555"/>
                <a:ext cx="399038" cy="18792"/>
                <a:chOff x="-409063" y="1001555"/>
                <a:chExt cx="399038" cy="18792"/>
              </a:xfrm>
              <a:solidFill>
                <a:srgbClr val="D40511"/>
              </a:solidFill>
            </p:grpSpPr>
            <p:grpSp>
              <p:nvGrpSpPr>
                <p:cNvPr id="57" name="Grafik 473">
                  <a:extLst>
                    <a:ext uri="{FF2B5EF4-FFF2-40B4-BE49-F238E27FC236}">
                      <a16:creationId xmlns:a16="http://schemas.microsoft.com/office/drawing/2014/main" id="{9ACC836B-25CE-AEAD-669A-AEB37900C225}"/>
                    </a:ext>
                  </a:extLst>
                </p:cNvPr>
                <p:cNvGrpSpPr/>
                <p:nvPr/>
              </p:nvGrpSpPr>
              <p:grpSpPr>
                <a:xfrm>
                  <a:off x="-409063" y="1001555"/>
                  <a:ext cx="59390" cy="18792"/>
                  <a:chOff x="-409063" y="1001555"/>
                  <a:chExt cx="59390" cy="18792"/>
                </a:xfrm>
                <a:solidFill>
                  <a:srgbClr val="D40511"/>
                </a:solidFill>
              </p:grpSpPr>
              <p:sp>
                <p:nvSpPr>
                  <p:cNvPr id="62" name="Freihandform 301">
                    <a:extLst>
                      <a:ext uri="{FF2B5EF4-FFF2-40B4-BE49-F238E27FC236}">
                        <a16:creationId xmlns:a16="http://schemas.microsoft.com/office/drawing/2014/main" id="{B3E89A82-C54B-3695-DFC5-C5BE703FCBD1}"/>
                      </a:ext>
                    </a:extLst>
                  </p:cNvPr>
                  <p:cNvSpPr/>
                  <p:nvPr/>
                </p:nvSpPr>
                <p:spPr>
                  <a:xfrm>
                    <a:off x="-409063" y="1008921"/>
                    <a:ext cx="53983" cy="4060"/>
                  </a:xfrm>
                  <a:custGeom>
                    <a:avLst/>
                    <a:gdLst>
                      <a:gd name="connsiteX0" fmla="*/ 0 w 53983"/>
                      <a:gd name="connsiteY0" fmla="*/ 0 h 4060"/>
                      <a:gd name="connsiteX1" fmla="*/ 53983 w 53983"/>
                      <a:gd name="connsiteY1" fmla="*/ 0 h 4060"/>
                      <a:gd name="connsiteX2" fmla="*/ 50947 w 53983"/>
                      <a:gd name="connsiteY2" fmla="*/ 4061 h 4060"/>
                      <a:gd name="connsiteX3" fmla="*/ 0 w 53983"/>
                      <a:gd name="connsiteY3" fmla="*/ 4061 h 4060"/>
                      <a:gd name="connsiteX4" fmla="*/ 0 w 53983"/>
                      <a:gd name="connsiteY4" fmla="*/ 0 h 4060"/>
                      <a:gd name="connsiteX5" fmla="*/ 0 w 53983"/>
                      <a:gd name="connsiteY5" fmla="*/ 0 h 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3" h="4060">
                        <a:moveTo>
                          <a:pt x="0" y="0"/>
                        </a:moveTo>
                        <a:lnTo>
                          <a:pt x="53983" y="0"/>
                        </a:lnTo>
                        <a:lnTo>
                          <a:pt x="50947" y="4061"/>
                        </a:lnTo>
                        <a:lnTo>
                          <a:pt x="0" y="4061"/>
                        </a:lnTo>
                        <a:lnTo>
                          <a:pt x="0" y="0"/>
                        </a:lnTo>
                        <a:lnTo>
                          <a:pt x="0"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3" name="Freihandform 302">
                    <a:extLst>
                      <a:ext uri="{FF2B5EF4-FFF2-40B4-BE49-F238E27FC236}">
                        <a16:creationId xmlns:a16="http://schemas.microsoft.com/office/drawing/2014/main" id="{90DD9676-EF16-8265-4DFC-4432C898CCFB}"/>
                      </a:ext>
                    </a:extLst>
                  </p:cNvPr>
                  <p:cNvSpPr/>
                  <p:nvPr/>
                </p:nvSpPr>
                <p:spPr>
                  <a:xfrm>
                    <a:off x="-409063" y="1001555"/>
                    <a:ext cx="59390" cy="3966"/>
                  </a:xfrm>
                  <a:custGeom>
                    <a:avLst/>
                    <a:gdLst>
                      <a:gd name="connsiteX0" fmla="*/ 0 w 59390"/>
                      <a:gd name="connsiteY0" fmla="*/ 0 h 3966"/>
                      <a:gd name="connsiteX1" fmla="*/ 59391 w 59390"/>
                      <a:gd name="connsiteY1" fmla="*/ 0 h 3966"/>
                      <a:gd name="connsiteX2" fmla="*/ 56450 w 59390"/>
                      <a:gd name="connsiteY2" fmla="*/ 3966 h 3966"/>
                      <a:gd name="connsiteX3" fmla="*/ 0 w 59390"/>
                      <a:gd name="connsiteY3" fmla="*/ 3966 h 3966"/>
                      <a:gd name="connsiteX4" fmla="*/ 0 w 59390"/>
                      <a:gd name="connsiteY4" fmla="*/ 0 h 3966"/>
                      <a:gd name="connsiteX5" fmla="*/ 0 w 59390"/>
                      <a:gd name="connsiteY5" fmla="*/ 0 h 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90" h="3966">
                        <a:moveTo>
                          <a:pt x="0" y="0"/>
                        </a:moveTo>
                        <a:lnTo>
                          <a:pt x="59391" y="0"/>
                        </a:lnTo>
                        <a:lnTo>
                          <a:pt x="56450" y="3966"/>
                        </a:lnTo>
                        <a:lnTo>
                          <a:pt x="0" y="3966"/>
                        </a:lnTo>
                        <a:lnTo>
                          <a:pt x="0" y="0"/>
                        </a:lnTo>
                        <a:lnTo>
                          <a:pt x="0"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4" name="Freihandform 303">
                    <a:extLst>
                      <a:ext uri="{FF2B5EF4-FFF2-40B4-BE49-F238E27FC236}">
                        <a16:creationId xmlns:a16="http://schemas.microsoft.com/office/drawing/2014/main" id="{5C0ACC59-542B-E0C5-7F3E-98EFB08137D5}"/>
                      </a:ext>
                    </a:extLst>
                  </p:cNvPr>
                  <p:cNvSpPr/>
                  <p:nvPr/>
                </p:nvSpPr>
                <p:spPr>
                  <a:xfrm>
                    <a:off x="-409063" y="1016382"/>
                    <a:ext cx="48480" cy="3966"/>
                  </a:xfrm>
                  <a:custGeom>
                    <a:avLst/>
                    <a:gdLst>
                      <a:gd name="connsiteX0" fmla="*/ 0 w 48480"/>
                      <a:gd name="connsiteY0" fmla="*/ 0 h 3966"/>
                      <a:gd name="connsiteX1" fmla="*/ 48480 w 48480"/>
                      <a:gd name="connsiteY1" fmla="*/ 0 h 3966"/>
                      <a:gd name="connsiteX2" fmla="*/ 45539 w 48480"/>
                      <a:gd name="connsiteY2" fmla="*/ 3966 h 3966"/>
                      <a:gd name="connsiteX3" fmla="*/ 0 w 48480"/>
                      <a:gd name="connsiteY3" fmla="*/ 3966 h 3966"/>
                      <a:gd name="connsiteX4" fmla="*/ 0 w 48480"/>
                      <a:gd name="connsiteY4" fmla="*/ 0 h 3966"/>
                      <a:gd name="connsiteX5" fmla="*/ 0 w 48480"/>
                      <a:gd name="connsiteY5" fmla="*/ 0 h 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80" h="3966">
                        <a:moveTo>
                          <a:pt x="0" y="0"/>
                        </a:moveTo>
                        <a:lnTo>
                          <a:pt x="48480" y="0"/>
                        </a:lnTo>
                        <a:lnTo>
                          <a:pt x="45539" y="3966"/>
                        </a:lnTo>
                        <a:lnTo>
                          <a:pt x="0" y="3966"/>
                        </a:lnTo>
                        <a:lnTo>
                          <a:pt x="0" y="0"/>
                        </a:lnTo>
                        <a:lnTo>
                          <a:pt x="0"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nvGrpSpPr>
                <p:cNvPr id="58" name="Grafik 473">
                  <a:extLst>
                    <a:ext uri="{FF2B5EF4-FFF2-40B4-BE49-F238E27FC236}">
                      <a16:creationId xmlns:a16="http://schemas.microsoft.com/office/drawing/2014/main" id="{FDD8F79B-B944-A8F7-0AE9-0A9C682B9A0D}"/>
                    </a:ext>
                  </a:extLst>
                </p:cNvPr>
                <p:cNvGrpSpPr/>
                <p:nvPr/>
              </p:nvGrpSpPr>
              <p:grpSpPr>
                <a:xfrm>
                  <a:off x="-69226" y="1001555"/>
                  <a:ext cx="59201" cy="18792"/>
                  <a:chOff x="-69226" y="1001555"/>
                  <a:chExt cx="59201" cy="18792"/>
                </a:xfrm>
                <a:solidFill>
                  <a:srgbClr val="D40511"/>
                </a:solidFill>
              </p:grpSpPr>
              <p:sp>
                <p:nvSpPr>
                  <p:cNvPr id="59" name="Freihandform 298">
                    <a:extLst>
                      <a:ext uri="{FF2B5EF4-FFF2-40B4-BE49-F238E27FC236}">
                        <a16:creationId xmlns:a16="http://schemas.microsoft.com/office/drawing/2014/main" id="{D606CEAA-6EF5-4A71-61F5-4E31C6402E25}"/>
                      </a:ext>
                    </a:extLst>
                  </p:cNvPr>
                  <p:cNvSpPr/>
                  <p:nvPr/>
                </p:nvSpPr>
                <p:spPr>
                  <a:xfrm>
                    <a:off x="-63819" y="1008921"/>
                    <a:ext cx="53793" cy="4060"/>
                  </a:xfrm>
                  <a:custGeom>
                    <a:avLst/>
                    <a:gdLst>
                      <a:gd name="connsiteX0" fmla="*/ 53793 w 53793"/>
                      <a:gd name="connsiteY0" fmla="*/ 4061 h 4060"/>
                      <a:gd name="connsiteX1" fmla="*/ 0 w 53793"/>
                      <a:gd name="connsiteY1" fmla="*/ 4061 h 4060"/>
                      <a:gd name="connsiteX2" fmla="*/ 2941 w 53793"/>
                      <a:gd name="connsiteY2" fmla="*/ 0 h 4060"/>
                      <a:gd name="connsiteX3" fmla="*/ 53793 w 53793"/>
                      <a:gd name="connsiteY3" fmla="*/ 0 h 4060"/>
                      <a:gd name="connsiteX4" fmla="*/ 53793 w 53793"/>
                      <a:gd name="connsiteY4" fmla="*/ 4061 h 4060"/>
                      <a:gd name="connsiteX5" fmla="*/ 53793 w 53793"/>
                      <a:gd name="connsiteY5" fmla="*/ 4061 h 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93" h="4060">
                        <a:moveTo>
                          <a:pt x="53793" y="4061"/>
                        </a:moveTo>
                        <a:lnTo>
                          <a:pt x="0" y="4061"/>
                        </a:lnTo>
                        <a:lnTo>
                          <a:pt x="2941" y="0"/>
                        </a:lnTo>
                        <a:lnTo>
                          <a:pt x="53793" y="0"/>
                        </a:lnTo>
                        <a:lnTo>
                          <a:pt x="53793" y="4061"/>
                        </a:lnTo>
                        <a:lnTo>
                          <a:pt x="53793" y="4061"/>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0" name="Freihandform 299">
                    <a:extLst>
                      <a:ext uri="{FF2B5EF4-FFF2-40B4-BE49-F238E27FC236}">
                        <a16:creationId xmlns:a16="http://schemas.microsoft.com/office/drawing/2014/main" id="{B43C727D-FB2F-3D72-CB4C-B91356E14D65}"/>
                      </a:ext>
                    </a:extLst>
                  </p:cNvPr>
                  <p:cNvSpPr/>
                  <p:nvPr/>
                </p:nvSpPr>
                <p:spPr>
                  <a:xfrm>
                    <a:off x="-69226" y="1016382"/>
                    <a:ext cx="59201" cy="3966"/>
                  </a:xfrm>
                  <a:custGeom>
                    <a:avLst/>
                    <a:gdLst>
                      <a:gd name="connsiteX0" fmla="*/ 59201 w 59201"/>
                      <a:gd name="connsiteY0" fmla="*/ 3966 h 3966"/>
                      <a:gd name="connsiteX1" fmla="*/ 0 w 59201"/>
                      <a:gd name="connsiteY1" fmla="*/ 3966 h 3966"/>
                      <a:gd name="connsiteX2" fmla="*/ 2846 w 59201"/>
                      <a:gd name="connsiteY2" fmla="*/ 0 h 3966"/>
                      <a:gd name="connsiteX3" fmla="*/ 59201 w 59201"/>
                      <a:gd name="connsiteY3" fmla="*/ 0 h 3966"/>
                      <a:gd name="connsiteX4" fmla="*/ 59201 w 59201"/>
                      <a:gd name="connsiteY4" fmla="*/ 3966 h 3966"/>
                      <a:gd name="connsiteX5" fmla="*/ 59201 w 59201"/>
                      <a:gd name="connsiteY5" fmla="*/ 3966 h 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1" h="3966">
                        <a:moveTo>
                          <a:pt x="59201" y="3966"/>
                        </a:moveTo>
                        <a:lnTo>
                          <a:pt x="0" y="3966"/>
                        </a:lnTo>
                        <a:lnTo>
                          <a:pt x="2846" y="0"/>
                        </a:lnTo>
                        <a:lnTo>
                          <a:pt x="59201" y="0"/>
                        </a:lnTo>
                        <a:lnTo>
                          <a:pt x="59201" y="3966"/>
                        </a:lnTo>
                        <a:lnTo>
                          <a:pt x="59201" y="3966"/>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61" name="Freihandform 300">
                    <a:extLst>
                      <a:ext uri="{FF2B5EF4-FFF2-40B4-BE49-F238E27FC236}">
                        <a16:creationId xmlns:a16="http://schemas.microsoft.com/office/drawing/2014/main" id="{7E3CB987-640C-E74C-C643-5168EBAAC524}"/>
                      </a:ext>
                    </a:extLst>
                  </p:cNvPr>
                  <p:cNvSpPr/>
                  <p:nvPr/>
                </p:nvSpPr>
                <p:spPr>
                  <a:xfrm>
                    <a:off x="-58316" y="1001555"/>
                    <a:ext cx="48290" cy="3966"/>
                  </a:xfrm>
                  <a:custGeom>
                    <a:avLst/>
                    <a:gdLst>
                      <a:gd name="connsiteX0" fmla="*/ 2941 w 48290"/>
                      <a:gd name="connsiteY0" fmla="*/ 0 h 3966"/>
                      <a:gd name="connsiteX1" fmla="*/ 48291 w 48290"/>
                      <a:gd name="connsiteY1" fmla="*/ 0 h 3966"/>
                      <a:gd name="connsiteX2" fmla="*/ 48291 w 48290"/>
                      <a:gd name="connsiteY2" fmla="*/ 3966 h 3966"/>
                      <a:gd name="connsiteX3" fmla="*/ 0 w 48290"/>
                      <a:gd name="connsiteY3" fmla="*/ 3966 h 3966"/>
                      <a:gd name="connsiteX4" fmla="*/ 2941 w 48290"/>
                      <a:gd name="connsiteY4" fmla="*/ 0 h 3966"/>
                      <a:gd name="connsiteX5" fmla="*/ 2941 w 48290"/>
                      <a:gd name="connsiteY5" fmla="*/ 0 h 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90" h="3966">
                        <a:moveTo>
                          <a:pt x="2941" y="0"/>
                        </a:moveTo>
                        <a:lnTo>
                          <a:pt x="48291" y="0"/>
                        </a:lnTo>
                        <a:lnTo>
                          <a:pt x="48291" y="3966"/>
                        </a:lnTo>
                        <a:lnTo>
                          <a:pt x="0" y="3966"/>
                        </a:lnTo>
                        <a:lnTo>
                          <a:pt x="2941" y="0"/>
                        </a:lnTo>
                        <a:lnTo>
                          <a:pt x="2941"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grpSp>
            <p:nvGrpSpPr>
              <p:cNvPr id="48" name="Grafik 473">
                <a:extLst>
                  <a:ext uri="{FF2B5EF4-FFF2-40B4-BE49-F238E27FC236}">
                    <a16:creationId xmlns:a16="http://schemas.microsoft.com/office/drawing/2014/main" id="{10BEAD63-F243-6039-ED9E-CA7E726A61CD}"/>
                  </a:ext>
                </a:extLst>
              </p:cNvPr>
              <p:cNvGrpSpPr/>
              <p:nvPr/>
            </p:nvGrpSpPr>
            <p:grpSpPr>
              <a:xfrm>
                <a:off x="-356788" y="985690"/>
                <a:ext cx="294677" cy="34657"/>
                <a:chOff x="-356788" y="985690"/>
                <a:chExt cx="294677" cy="34657"/>
              </a:xfrm>
              <a:solidFill>
                <a:srgbClr val="D40511"/>
              </a:solidFill>
            </p:grpSpPr>
            <p:sp>
              <p:nvSpPr>
                <p:cNvPr id="53" name="Freihandform 276">
                  <a:extLst>
                    <a:ext uri="{FF2B5EF4-FFF2-40B4-BE49-F238E27FC236}">
                      <a16:creationId xmlns:a16="http://schemas.microsoft.com/office/drawing/2014/main" id="{41564D2A-2971-C548-A79D-0DEEE10CC82A}"/>
                    </a:ext>
                  </a:extLst>
                </p:cNvPr>
                <p:cNvSpPr/>
                <p:nvPr/>
              </p:nvSpPr>
              <p:spPr>
                <a:xfrm>
                  <a:off x="-356788" y="985690"/>
                  <a:ext cx="98099" cy="34657"/>
                </a:xfrm>
                <a:custGeom>
                  <a:avLst/>
                  <a:gdLst>
                    <a:gd name="connsiteX0" fmla="*/ 0 w 98099"/>
                    <a:gd name="connsiteY0" fmla="*/ 34658 h 34657"/>
                    <a:gd name="connsiteX1" fmla="*/ 25616 w 98099"/>
                    <a:gd name="connsiteY1" fmla="*/ 0 h 34657"/>
                    <a:gd name="connsiteX2" fmla="*/ 57398 w 98099"/>
                    <a:gd name="connsiteY2" fmla="*/ 0 h 34657"/>
                    <a:gd name="connsiteX3" fmla="*/ 59106 w 98099"/>
                    <a:gd name="connsiteY3" fmla="*/ 3683 h 34657"/>
                    <a:gd name="connsiteX4" fmla="*/ 52655 w 98099"/>
                    <a:gd name="connsiteY4" fmla="*/ 12466 h 34657"/>
                    <a:gd name="connsiteX5" fmla="*/ 55501 w 98099"/>
                    <a:gd name="connsiteY5" fmla="*/ 15865 h 34657"/>
                    <a:gd name="connsiteX6" fmla="*/ 98099 w 98099"/>
                    <a:gd name="connsiteY6" fmla="*/ 15865 h 34657"/>
                    <a:gd name="connsiteX7" fmla="*/ 62427 w 98099"/>
                    <a:gd name="connsiteY7" fmla="*/ 34658 h 34657"/>
                    <a:gd name="connsiteX8" fmla="*/ 0 w 98099"/>
                    <a:gd name="connsiteY8" fmla="*/ 34658 h 3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099" h="34657">
                      <a:moveTo>
                        <a:pt x="0" y="34658"/>
                      </a:moveTo>
                      <a:lnTo>
                        <a:pt x="25616" y="0"/>
                      </a:lnTo>
                      <a:lnTo>
                        <a:pt x="57398" y="0"/>
                      </a:lnTo>
                      <a:cubicBezTo>
                        <a:pt x="60909" y="0"/>
                        <a:pt x="60909" y="1322"/>
                        <a:pt x="59106" y="3683"/>
                      </a:cubicBezTo>
                      <a:cubicBezTo>
                        <a:pt x="57398" y="6044"/>
                        <a:pt x="54363" y="10105"/>
                        <a:pt x="52655" y="12466"/>
                      </a:cubicBezTo>
                      <a:cubicBezTo>
                        <a:pt x="51801" y="13693"/>
                        <a:pt x="50093" y="15865"/>
                        <a:pt x="55501" y="15865"/>
                      </a:cubicBezTo>
                      <a:lnTo>
                        <a:pt x="98099" y="15865"/>
                      </a:lnTo>
                      <a:cubicBezTo>
                        <a:pt x="94589" y="20681"/>
                        <a:pt x="83109" y="34658"/>
                        <a:pt x="62427" y="34658"/>
                      </a:cubicBezTo>
                      <a:lnTo>
                        <a:pt x="0" y="34658"/>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54" name="Freihandform 277">
                  <a:extLst>
                    <a:ext uri="{FF2B5EF4-FFF2-40B4-BE49-F238E27FC236}">
                      <a16:creationId xmlns:a16="http://schemas.microsoft.com/office/drawing/2014/main" id="{6DDDF304-0959-C97E-E835-589E77627717}"/>
                    </a:ext>
                  </a:extLst>
                </p:cNvPr>
                <p:cNvSpPr/>
                <p:nvPr/>
              </p:nvSpPr>
              <p:spPr>
                <a:xfrm>
                  <a:off x="-260681" y="1001555"/>
                  <a:ext cx="50472" cy="18792"/>
                </a:xfrm>
                <a:custGeom>
                  <a:avLst/>
                  <a:gdLst>
                    <a:gd name="connsiteX0" fmla="*/ 50473 w 50472"/>
                    <a:gd name="connsiteY0" fmla="*/ 0 h 18792"/>
                    <a:gd name="connsiteX1" fmla="*/ 36621 w 50472"/>
                    <a:gd name="connsiteY1" fmla="*/ 18793 h 18792"/>
                    <a:gd name="connsiteX2" fmla="*/ 0 w 50472"/>
                    <a:gd name="connsiteY2" fmla="*/ 18793 h 18792"/>
                    <a:gd name="connsiteX3" fmla="*/ 13852 w 50472"/>
                    <a:gd name="connsiteY3" fmla="*/ 0 h 18792"/>
                    <a:gd name="connsiteX4" fmla="*/ 50473 w 50472"/>
                    <a:gd name="connsiteY4" fmla="*/ 0 h 18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72" h="18792">
                      <a:moveTo>
                        <a:pt x="50473" y="0"/>
                      </a:moveTo>
                      <a:lnTo>
                        <a:pt x="36621" y="18793"/>
                      </a:lnTo>
                      <a:lnTo>
                        <a:pt x="0" y="18793"/>
                      </a:lnTo>
                      <a:lnTo>
                        <a:pt x="13852" y="0"/>
                      </a:lnTo>
                      <a:lnTo>
                        <a:pt x="50473"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55" name="Freihandform 278">
                  <a:extLst>
                    <a:ext uri="{FF2B5EF4-FFF2-40B4-BE49-F238E27FC236}">
                      <a16:creationId xmlns:a16="http://schemas.microsoft.com/office/drawing/2014/main" id="{52D2EF7E-A61A-29F3-E0B4-B825EC7BC06A}"/>
                    </a:ext>
                  </a:extLst>
                </p:cNvPr>
                <p:cNvSpPr/>
                <p:nvPr/>
              </p:nvSpPr>
              <p:spPr>
                <a:xfrm>
                  <a:off x="-207647" y="1001555"/>
                  <a:ext cx="50472" cy="18792"/>
                </a:xfrm>
                <a:custGeom>
                  <a:avLst/>
                  <a:gdLst>
                    <a:gd name="connsiteX0" fmla="*/ 50473 w 50472"/>
                    <a:gd name="connsiteY0" fmla="*/ 0 h 18792"/>
                    <a:gd name="connsiteX1" fmla="*/ 36621 w 50472"/>
                    <a:gd name="connsiteY1" fmla="*/ 18793 h 18792"/>
                    <a:gd name="connsiteX2" fmla="*/ 0 w 50472"/>
                    <a:gd name="connsiteY2" fmla="*/ 18793 h 18792"/>
                    <a:gd name="connsiteX3" fmla="*/ 13852 w 50472"/>
                    <a:gd name="connsiteY3" fmla="*/ 0 h 18792"/>
                    <a:gd name="connsiteX4" fmla="*/ 50473 w 50472"/>
                    <a:gd name="connsiteY4" fmla="*/ 0 h 18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72" h="18792">
                      <a:moveTo>
                        <a:pt x="50473" y="0"/>
                      </a:moveTo>
                      <a:lnTo>
                        <a:pt x="36621" y="18793"/>
                      </a:lnTo>
                      <a:lnTo>
                        <a:pt x="0" y="18793"/>
                      </a:lnTo>
                      <a:lnTo>
                        <a:pt x="13852" y="0"/>
                      </a:lnTo>
                      <a:lnTo>
                        <a:pt x="50473"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56" name="Freihandform 281">
                  <a:extLst>
                    <a:ext uri="{FF2B5EF4-FFF2-40B4-BE49-F238E27FC236}">
                      <a16:creationId xmlns:a16="http://schemas.microsoft.com/office/drawing/2014/main" id="{CD86B4D7-53AF-5E0F-9BC4-2972A92E1FCC}"/>
                    </a:ext>
                  </a:extLst>
                </p:cNvPr>
                <p:cNvSpPr/>
                <p:nvPr/>
              </p:nvSpPr>
              <p:spPr>
                <a:xfrm>
                  <a:off x="-151075" y="1001555"/>
                  <a:ext cx="88964" cy="18792"/>
                </a:xfrm>
                <a:custGeom>
                  <a:avLst/>
                  <a:gdLst>
                    <a:gd name="connsiteX0" fmla="*/ 5760 w 88964"/>
                    <a:gd name="connsiteY0" fmla="*/ 0 h 18792"/>
                    <a:gd name="connsiteX1" fmla="*/ 1776 w 88964"/>
                    <a:gd name="connsiteY1" fmla="*/ 5383 h 18792"/>
                    <a:gd name="connsiteX2" fmla="*/ 16291 w 88964"/>
                    <a:gd name="connsiteY2" fmla="*/ 18793 h 18792"/>
                    <a:gd name="connsiteX3" fmla="*/ 75113 w 88964"/>
                    <a:gd name="connsiteY3" fmla="*/ 18793 h 18792"/>
                    <a:gd name="connsiteX4" fmla="*/ 88964 w 88964"/>
                    <a:gd name="connsiteY4" fmla="*/ 0 h 18792"/>
                    <a:gd name="connsiteX5" fmla="*/ 5760 w 88964"/>
                    <a:gd name="connsiteY5" fmla="*/ 0 h 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64" h="18792">
                      <a:moveTo>
                        <a:pt x="5760" y="0"/>
                      </a:moveTo>
                      <a:cubicBezTo>
                        <a:pt x="5760" y="0"/>
                        <a:pt x="3104" y="3683"/>
                        <a:pt x="1776" y="5383"/>
                      </a:cubicBezTo>
                      <a:cubicBezTo>
                        <a:pt x="-2778" y="11616"/>
                        <a:pt x="1206" y="18793"/>
                        <a:pt x="16291" y="18793"/>
                      </a:cubicBezTo>
                      <a:lnTo>
                        <a:pt x="75113" y="18793"/>
                      </a:lnTo>
                      <a:lnTo>
                        <a:pt x="88964" y="0"/>
                      </a:lnTo>
                      <a:lnTo>
                        <a:pt x="5760"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nvGrpSpPr>
              <p:cNvPr id="49" name="Grafik 473">
                <a:extLst>
                  <a:ext uri="{FF2B5EF4-FFF2-40B4-BE49-F238E27FC236}">
                    <a16:creationId xmlns:a16="http://schemas.microsoft.com/office/drawing/2014/main" id="{695687B2-D45C-04B3-E08B-B769F3BC75EC}"/>
                  </a:ext>
                </a:extLst>
              </p:cNvPr>
              <p:cNvGrpSpPr/>
              <p:nvPr/>
            </p:nvGrpSpPr>
            <p:grpSpPr>
              <a:xfrm>
                <a:off x="-351665" y="964159"/>
                <a:ext cx="272856" cy="33147"/>
                <a:chOff x="-351665" y="964159"/>
                <a:chExt cx="272856" cy="33147"/>
              </a:xfrm>
              <a:solidFill>
                <a:srgbClr val="D40511"/>
              </a:solidFill>
            </p:grpSpPr>
            <p:sp>
              <p:nvSpPr>
                <p:cNvPr id="50" name="Freihandform 273">
                  <a:extLst>
                    <a:ext uri="{FF2B5EF4-FFF2-40B4-BE49-F238E27FC236}">
                      <a16:creationId xmlns:a16="http://schemas.microsoft.com/office/drawing/2014/main" id="{1659419E-1C86-63D9-AFAE-7CB04BCA908E}"/>
                    </a:ext>
                  </a:extLst>
                </p:cNvPr>
                <p:cNvSpPr/>
                <p:nvPr/>
              </p:nvSpPr>
              <p:spPr>
                <a:xfrm>
                  <a:off x="-351665" y="964159"/>
                  <a:ext cx="106344" cy="33147"/>
                </a:xfrm>
                <a:custGeom>
                  <a:avLst/>
                  <a:gdLst>
                    <a:gd name="connsiteX0" fmla="*/ 12713 w 106344"/>
                    <a:gd name="connsiteY0" fmla="*/ 0 h 33147"/>
                    <a:gd name="connsiteX1" fmla="*/ 0 w 106344"/>
                    <a:gd name="connsiteY1" fmla="*/ 17282 h 33147"/>
                    <a:gd name="connsiteX2" fmla="*/ 69447 w 106344"/>
                    <a:gd name="connsiteY2" fmla="*/ 17282 h 33147"/>
                    <a:gd name="connsiteX3" fmla="*/ 71155 w 106344"/>
                    <a:gd name="connsiteY3" fmla="*/ 20965 h 33147"/>
                    <a:gd name="connsiteX4" fmla="*/ 64704 w 106344"/>
                    <a:gd name="connsiteY4" fmla="*/ 29747 h 33147"/>
                    <a:gd name="connsiteX5" fmla="*/ 67550 w 106344"/>
                    <a:gd name="connsiteY5" fmla="*/ 33147 h 33147"/>
                    <a:gd name="connsiteX6" fmla="*/ 95917 w 106344"/>
                    <a:gd name="connsiteY6" fmla="*/ 33147 h 33147"/>
                    <a:gd name="connsiteX7" fmla="*/ 104361 w 106344"/>
                    <a:gd name="connsiteY7" fmla="*/ 21720 h 33147"/>
                    <a:gd name="connsiteX8" fmla="*/ 86145 w 106344"/>
                    <a:gd name="connsiteY8" fmla="*/ 0 h 33147"/>
                    <a:gd name="connsiteX9" fmla="*/ 12618 w 106344"/>
                    <a:gd name="connsiteY9" fmla="*/ 0 h 3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4" h="33147">
                      <a:moveTo>
                        <a:pt x="12713" y="0"/>
                      </a:moveTo>
                      <a:lnTo>
                        <a:pt x="0" y="17282"/>
                      </a:lnTo>
                      <a:lnTo>
                        <a:pt x="69447" y="17282"/>
                      </a:lnTo>
                      <a:cubicBezTo>
                        <a:pt x="72958" y="17282"/>
                        <a:pt x="72958" y="18604"/>
                        <a:pt x="71155" y="20965"/>
                      </a:cubicBezTo>
                      <a:cubicBezTo>
                        <a:pt x="69447" y="23326"/>
                        <a:pt x="66506" y="27386"/>
                        <a:pt x="64704" y="29747"/>
                      </a:cubicBezTo>
                      <a:cubicBezTo>
                        <a:pt x="63850" y="30975"/>
                        <a:pt x="62142" y="33147"/>
                        <a:pt x="67550" y="33147"/>
                      </a:cubicBezTo>
                      <a:lnTo>
                        <a:pt x="95917" y="33147"/>
                      </a:lnTo>
                      <a:cubicBezTo>
                        <a:pt x="95917" y="33147"/>
                        <a:pt x="100471" y="26914"/>
                        <a:pt x="104361" y="21720"/>
                      </a:cubicBezTo>
                      <a:cubicBezTo>
                        <a:pt x="109579" y="14638"/>
                        <a:pt x="104835" y="0"/>
                        <a:pt x="86145" y="0"/>
                      </a:cubicBezTo>
                      <a:lnTo>
                        <a:pt x="12618"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51" name="Freihandform 274">
                  <a:extLst>
                    <a:ext uri="{FF2B5EF4-FFF2-40B4-BE49-F238E27FC236}">
                      <a16:creationId xmlns:a16="http://schemas.microsoft.com/office/drawing/2014/main" id="{BD8A6920-92FF-EDDF-4952-B07FA44DAEEA}"/>
                    </a:ext>
                  </a:extLst>
                </p:cNvPr>
                <p:cNvSpPr/>
                <p:nvPr/>
              </p:nvSpPr>
              <p:spPr>
                <a:xfrm>
                  <a:off x="-243604" y="964159"/>
                  <a:ext cx="114037" cy="33147"/>
                </a:xfrm>
                <a:custGeom>
                  <a:avLst/>
                  <a:gdLst>
                    <a:gd name="connsiteX0" fmla="*/ 89561 w 114037"/>
                    <a:gd name="connsiteY0" fmla="*/ 33147 h 33147"/>
                    <a:gd name="connsiteX1" fmla="*/ 0 w 114037"/>
                    <a:gd name="connsiteY1" fmla="*/ 33147 h 33147"/>
                    <a:gd name="connsiteX2" fmla="*/ 24477 w 114037"/>
                    <a:gd name="connsiteY2" fmla="*/ 0 h 33147"/>
                    <a:gd name="connsiteX3" fmla="*/ 61099 w 114037"/>
                    <a:gd name="connsiteY3" fmla="*/ 0 h 33147"/>
                    <a:gd name="connsiteX4" fmla="*/ 47057 w 114037"/>
                    <a:gd name="connsiteY4" fmla="*/ 18982 h 33147"/>
                    <a:gd name="connsiteX5" fmla="*/ 63376 w 114037"/>
                    <a:gd name="connsiteY5" fmla="*/ 18982 h 33147"/>
                    <a:gd name="connsiteX6" fmla="*/ 77417 w 114037"/>
                    <a:gd name="connsiteY6" fmla="*/ 0 h 33147"/>
                    <a:gd name="connsiteX7" fmla="*/ 114038 w 114037"/>
                    <a:gd name="connsiteY7" fmla="*/ 0 h 33147"/>
                    <a:gd name="connsiteX8" fmla="*/ 89561 w 114037"/>
                    <a:gd name="connsiteY8" fmla="*/ 33147 h 33147"/>
                    <a:gd name="connsiteX9" fmla="*/ 89561 w 114037"/>
                    <a:gd name="connsiteY9" fmla="*/ 33147 h 3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037" h="33147">
                      <a:moveTo>
                        <a:pt x="89561" y="33147"/>
                      </a:moveTo>
                      <a:lnTo>
                        <a:pt x="0" y="33147"/>
                      </a:lnTo>
                      <a:lnTo>
                        <a:pt x="24477" y="0"/>
                      </a:lnTo>
                      <a:lnTo>
                        <a:pt x="61099" y="0"/>
                      </a:lnTo>
                      <a:lnTo>
                        <a:pt x="47057" y="18982"/>
                      </a:lnTo>
                      <a:lnTo>
                        <a:pt x="63376" y="18982"/>
                      </a:lnTo>
                      <a:lnTo>
                        <a:pt x="77417" y="0"/>
                      </a:lnTo>
                      <a:lnTo>
                        <a:pt x="114038" y="0"/>
                      </a:lnTo>
                      <a:lnTo>
                        <a:pt x="89561" y="33147"/>
                      </a:lnTo>
                      <a:lnTo>
                        <a:pt x="89561" y="33147"/>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52" name="Freihandform 275">
                  <a:extLst>
                    <a:ext uri="{FF2B5EF4-FFF2-40B4-BE49-F238E27FC236}">
                      <a16:creationId xmlns:a16="http://schemas.microsoft.com/office/drawing/2014/main" id="{0E5B2690-EFA7-5288-4CAB-2CC88B9FACD6}"/>
                    </a:ext>
                  </a:extLst>
                </p:cNvPr>
                <p:cNvSpPr/>
                <p:nvPr/>
              </p:nvSpPr>
              <p:spPr>
                <a:xfrm>
                  <a:off x="-142089" y="964159"/>
                  <a:ext cx="63280" cy="33147"/>
                </a:xfrm>
                <a:custGeom>
                  <a:avLst/>
                  <a:gdLst>
                    <a:gd name="connsiteX0" fmla="*/ 63281 w 63280"/>
                    <a:gd name="connsiteY0" fmla="*/ 0 h 33147"/>
                    <a:gd name="connsiteX1" fmla="*/ 38803 w 63280"/>
                    <a:gd name="connsiteY1" fmla="*/ 33147 h 33147"/>
                    <a:gd name="connsiteX2" fmla="*/ 0 w 63280"/>
                    <a:gd name="connsiteY2" fmla="*/ 33147 h 33147"/>
                    <a:gd name="connsiteX3" fmla="*/ 24477 w 63280"/>
                    <a:gd name="connsiteY3" fmla="*/ 0 h 33147"/>
                    <a:gd name="connsiteX4" fmla="*/ 63281 w 63280"/>
                    <a:gd name="connsiteY4" fmla="*/ 0 h 33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0" h="33147">
                      <a:moveTo>
                        <a:pt x="63281" y="0"/>
                      </a:moveTo>
                      <a:lnTo>
                        <a:pt x="38803" y="33147"/>
                      </a:lnTo>
                      <a:lnTo>
                        <a:pt x="0" y="33147"/>
                      </a:lnTo>
                      <a:lnTo>
                        <a:pt x="24477" y="0"/>
                      </a:lnTo>
                      <a:lnTo>
                        <a:pt x="63281" y="0"/>
                      </a:lnTo>
                      <a:close/>
                    </a:path>
                  </a:pathLst>
                </a:custGeom>
                <a:solidFill>
                  <a:srgbClr val="D40511"/>
                </a:solidFill>
                <a:ln w="9487"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grpSp>
      </p:grpSp>
      <p:sp>
        <p:nvSpPr>
          <p:cNvPr id="96" name="Rectangle 13">
            <a:extLst>
              <a:ext uri="{FF2B5EF4-FFF2-40B4-BE49-F238E27FC236}">
                <a16:creationId xmlns:a16="http://schemas.microsoft.com/office/drawing/2014/main" id="{69B1642B-0382-22C2-018A-350E7D7DF419}"/>
              </a:ext>
            </a:extLst>
          </p:cNvPr>
          <p:cNvSpPr/>
          <p:nvPr/>
        </p:nvSpPr>
        <p:spPr>
          <a:xfrm>
            <a:off x="674769" y="1873773"/>
            <a:ext cx="630123" cy="1587948"/>
          </a:xfrm>
          <a:prstGeom prst="rect">
            <a:avLst/>
          </a:prstGeom>
          <a:noFill/>
          <a:ln>
            <a:no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72000" tIns="144000" rIns="72000" bIns="0"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30 %</a:t>
            </a:r>
          </a:p>
        </p:txBody>
      </p:sp>
      <p:grpSp>
        <p:nvGrpSpPr>
          <p:cNvPr id="97" name="Gruppieren 96">
            <a:extLst>
              <a:ext uri="{FF2B5EF4-FFF2-40B4-BE49-F238E27FC236}">
                <a16:creationId xmlns:a16="http://schemas.microsoft.com/office/drawing/2014/main" id="{A2264436-0134-1D9E-8F79-7AAC1286C508}"/>
              </a:ext>
            </a:extLst>
          </p:cNvPr>
          <p:cNvGrpSpPr/>
          <p:nvPr/>
        </p:nvGrpSpPr>
        <p:grpSpPr>
          <a:xfrm>
            <a:off x="3038519" y="2558699"/>
            <a:ext cx="807523" cy="201393"/>
            <a:chOff x="544489" y="2507961"/>
            <a:chExt cx="3656740" cy="837323"/>
          </a:xfrm>
        </p:grpSpPr>
        <p:sp>
          <p:nvSpPr>
            <p:cNvPr id="98" name="Freihandform 341">
              <a:extLst>
                <a:ext uri="{FF2B5EF4-FFF2-40B4-BE49-F238E27FC236}">
                  <a16:creationId xmlns:a16="http://schemas.microsoft.com/office/drawing/2014/main" id="{1590AE3E-9B04-95F8-008C-7222007C1D34}"/>
                </a:ext>
              </a:extLst>
            </p:cNvPr>
            <p:cNvSpPr/>
            <p:nvPr/>
          </p:nvSpPr>
          <p:spPr>
            <a:xfrm flipH="1">
              <a:off x="636518" y="3043793"/>
              <a:ext cx="3390687" cy="209733"/>
            </a:xfrm>
            <a:custGeom>
              <a:avLst/>
              <a:gdLst>
                <a:gd name="connsiteX0" fmla="*/ 357074 w 3390687"/>
                <a:gd name="connsiteY0" fmla="*/ 6424 h 209733"/>
                <a:gd name="connsiteX1" fmla="*/ 393386 w 3390687"/>
                <a:gd name="connsiteY1" fmla="*/ 86248 h 209733"/>
                <a:gd name="connsiteX2" fmla="*/ 3390688 w 3390687"/>
                <a:gd name="connsiteY2" fmla="*/ 86248 h 209733"/>
                <a:gd name="connsiteX3" fmla="*/ 3390688 w 3390687"/>
                <a:gd name="connsiteY3" fmla="*/ 116033 h 209733"/>
                <a:gd name="connsiteX4" fmla="*/ 3137742 w 3390687"/>
                <a:gd name="connsiteY4" fmla="*/ 209733 h 209733"/>
                <a:gd name="connsiteX5" fmla="*/ 24760 w 3390687"/>
                <a:gd name="connsiteY5" fmla="*/ 209733 h 209733"/>
                <a:gd name="connsiteX6" fmla="*/ 0 w 3390687"/>
                <a:gd name="connsiteY6" fmla="*/ 65151 h 209733"/>
                <a:gd name="connsiteX7" fmla="*/ 0 w 3390687"/>
                <a:gd name="connsiteY7" fmla="*/ 3572 h 209733"/>
                <a:gd name="connsiteX8" fmla="*/ 357074 w 3390687"/>
                <a:gd name="connsiteY8" fmla="*/ 6424 h 20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0687" h="209733">
                  <a:moveTo>
                    <a:pt x="357074" y="6424"/>
                  </a:moveTo>
                  <a:lnTo>
                    <a:pt x="393386" y="86248"/>
                  </a:lnTo>
                  <a:lnTo>
                    <a:pt x="3390688" y="86248"/>
                  </a:lnTo>
                  <a:lnTo>
                    <a:pt x="3390688" y="116033"/>
                  </a:lnTo>
                  <a:lnTo>
                    <a:pt x="3137742" y="209733"/>
                  </a:lnTo>
                  <a:lnTo>
                    <a:pt x="24760" y="209733"/>
                  </a:lnTo>
                  <a:lnTo>
                    <a:pt x="0" y="65151"/>
                  </a:lnTo>
                  <a:lnTo>
                    <a:pt x="0" y="3572"/>
                  </a:lnTo>
                  <a:cubicBezTo>
                    <a:pt x="0" y="3572"/>
                    <a:pt x="357074" y="-6119"/>
                    <a:pt x="357074" y="6424"/>
                  </a:cubicBezTo>
                  <a:close/>
                </a:path>
              </a:pathLst>
            </a:custGeom>
            <a:solidFill>
              <a:srgbClr val="20202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99" name="Freihandform 342">
              <a:extLst>
                <a:ext uri="{FF2B5EF4-FFF2-40B4-BE49-F238E27FC236}">
                  <a16:creationId xmlns:a16="http://schemas.microsoft.com/office/drawing/2014/main" id="{C26133DF-EB2F-9532-816D-C2D65A94C40F}"/>
                </a:ext>
              </a:extLst>
            </p:cNvPr>
            <p:cNvSpPr/>
            <p:nvPr/>
          </p:nvSpPr>
          <p:spPr>
            <a:xfrm flipH="1">
              <a:off x="544489" y="2507961"/>
              <a:ext cx="3021949" cy="623819"/>
            </a:xfrm>
            <a:custGeom>
              <a:avLst/>
              <a:gdLst>
                <a:gd name="connsiteX0" fmla="*/ 0 w 3021949"/>
                <a:gd name="connsiteY0" fmla="*/ 0 h 623819"/>
                <a:gd name="connsiteX1" fmla="*/ 3021949 w 3021949"/>
                <a:gd name="connsiteY1" fmla="*/ 0 h 623819"/>
                <a:gd name="connsiteX2" fmla="*/ 3021949 w 3021949"/>
                <a:gd name="connsiteY2" fmla="*/ 623820 h 623819"/>
                <a:gd name="connsiteX3" fmla="*/ 0 w 3021949"/>
                <a:gd name="connsiteY3" fmla="*/ 623820 h 623819"/>
              </a:gdLst>
              <a:ahLst/>
              <a:cxnLst>
                <a:cxn ang="0">
                  <a:pos x="connsiteX0" y="connsiteY0"/>
                </a:cxn>
                <a:cxn ang="0">
                  <a:pos x="connsiteX1" y="connsiteY1"/>
                </a:cxn>
                <a:cxn ang="0">
                  <a:pos x="connsiteX2" y="connsiteY2"/>
                </a:cxn>
                <a:cxn ang="0">
                  <a:pos x="connsiteX3" y="connsiteY3"/>
                </a:cxn>
              </a:cxnLst>
              <a:rect l="l" t="t" r="r" b="b"/>
              <a:pathLst>
                <a:path w="3021949" h="623819">
                  <a:moveTo>
                    <a:pt x="0" y="0"/>
                  </a:moveTo>
                  <a:lnTo>
                    <a:pt x="3021949" y="0"/>
                  </a:lnTo>
                  <a:lnTo>
                    <a:pt x="3021949" y="623820"/>
                  </a:lnTo>
                  <a:lnTo>
                    <a:pt x="0" y="623820"/>
                  </a:lnTo>
                  <a:close/>
                </a:path>
              </a:pathLst>
            </a:custGeom>
            <a:solidFill>
              <a:srgbClr val="FFCC0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0" name="Freihandform 343">
              <a:extLst>
                <a:ext uri="{FF2B5EF4-FFF2-40B4-BE49-F238E27FC236}">
                  <a16:creationId xmlns:a16="http://schemas.microsoft.com/office/drawing/2014/main" id="{C72B5C88-C38D-0F8F-CB37-8F03DB2D2551}"/>
                </a:ext>
              </a:extLst>
            </p:cNvPr>
            <p:cNvSpPr/>
            <p:nvPr/>
          </p:nvSpPr>
          <p:spPr>
            <a:xfrm flipH="1">
              <a:off x="3683103" y="2522901"/>
              <a:ext cx="371048" cy="127593"/>
            </a:xfrm>
            <a:custGeom>
              <a:avLst/>
              <a:gdLst>
                <a:gd name="connsiteX0" fmla="*/ 371048 w 371048"/>
                <a:gd name="connsiteY0" fmla="*/ 127593 h 127593"/>
                <a:gd name="connsiteX1" fmla="*/ 348976 w 371048"/>
                <a:gd name="connsiteY1" fmla="*/ 19490 h 127593"/>
                <a:gd name="connsiteX2" fmla="*/ 322895 w 371048"/>
                <a:gd name="connsiteY2" fmla="*/ 261 h 127593"/>
                <a:gd name="connsiteX3" fmla="*/ 319851 w 371048"/>
                <a:gd name="connsiteY3" fmla="*/ 935 h 127593"/>
                <a:gd name="connsiteX4" fmla="*/ 35218 w 371048"/>
                <a:gd name="connsiteY4" fmla="*/ 87338 h 127593"/>
                <a:gd name="connsiteX5" fmla="*/ 0 w 371048"/>
                <a:gd name="connsiteY5" fmla="*/ 127593 h 1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048" h="127593">
                  <a:moveTo>
                    <a:pt x="371048" y="127593"/>
                  </a:moveTo>
                  <a:lnTo>
                    <a:pt x="348976" y="19490"/>
                  </a:lnTo>
                  <a:cubicBezTo>
                    <a:pt x="347084" y="6978"/>
                    <a:pt x="335407" y="-1631"/>
                    <a:pt x="322895" y="261"/>
                  </a:cubicBezTo>
                  <a:cubicBezTo>
                    <a:pt x="321866" y="416"/>
                    <a:pt x="320849" y="642"/>
                    <a:pt x="319851" y="935"/>
                  </a:cubicBezTo>
                  <a:lnTo>
                    <a:pt x="35218" y="87338"/>
                  </a:lnTo>
                  <a:cubicBezTo>
                    <a:pt x="35218" y="87338"/>
                    <a:pt x="1100" y="102683"/>
                    <a:pt x="0" y="127593"/>
                  </a:cubicBezTo>
                  <a:close/>
                </a:path>
              </a:pathLst>
            </a:custGeom>
            <a:solidFill>
              <a:srgbClr val="FFCC0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1" name="Freihandform 344">
              <a:extLst>
                <a:ext uri="{FF2B5EF4-FFF2-40B4-BE49-F238E27FC236}">
                  <a16:creationId xmlns:a16="http://schemas.microsoft.com/office/drawing/2014/main" id="{728EC0CA-DD68-43E2-8CD8-84B2EF504C6F}"/>
                </a:ext>
              </a:extLst>
            </p:cNvPr>
            <p:cNvSpPr/>
            <p:nvPr/>
          </p:nvSpPr>
          <p:spPr>
            <a:xfrm flipH="1">
              <a:off x="3600941" y="2647056"/>
              <a:ext cx="600288" cy="641057"/>
            </a:xfrm>
            <a:custGeom>
              <a:avLst/>
              <a:gdLst>
                <a:gd name="connsiteX0" fmla="*/ 149352 w 600288"/>
                <a:gd name="connsiteY0" fmla="*/ 572054 h 641057"/>
                <a:gd name="connsiteX1" fmla="*/ 266731 w 600288"/>
                <a:gd name="connsiteY1" fmla="*/ 447217 h 641057"/>
                <a:gd name="connsiteX2" fmla="*/ 561205 w 600288"/>
                <a:gd name="connsiteY2" fmla="*/ 419079 h 641057"/>
                <a:gd name="connsiteX3" fmla="*/ 600288 w 600288"/>
                <a:gd name="connsiteY3" fmla="*/ 63688 h 641057"/>
                <a:gd name="connsiteX4" fmla="*/ 522522 w 600288"/>
                <a:gd name="connsiteY4" fmla="*/ 4 h 641057"/>
                <a:gd name="connsiteX5" fmla="*/ 115594 w 600288"/>
                <a:gd name="connsiteY5" fmla="*/ 4 h 641057"/>
                <a:gd name="connsiteX6" fmla="*/ 70346 w 600288"/>
                <a:gd name="connsiteY6" fmla="*/ 35006 h 641057"/>
                <a:gd name="connsiteX7" fmla="*/ 1502 w 600288"/>
                <a:gd name="connsiteY7" fmla="*/ 335033 h 641057"/>
                <a:gd name="connsiteX8" fmla="*/ 0 w 600288"/>
                <a:gd name="connsiteY8" fmla="*/ 348284 h 641057"/>
                <a:gd name="connsiteX9" fmla="*/ 0 w 600288"/>
                <a:gd name="connsiteY9" fmla="*/ 608824 h 641057"/>
                <a:gd name="connsiteX10" fmla="*/ 33457 w 600288"/>
                <a:gd name="connsiteY10" fmla="*/ 641052 h 641057"/>
                <a:gd name="connsiteX11" fmla="*/ 149352 w 600288"/>
                <a:gd name="connsiteY11" fmla="*/ 641052 h 64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288" h="641057">
                  <a:moveTo>
                    <a:pt x="149352" y="572054"/>
                  </a:moveTo>
                  <a:cubicBezTo>
                    <a:pt x="150438" y="506401"/>
                    <a:pt x="201269" y="452339"/>
                    <a:pt x="266731" y="447217"/>
                  </a:cubicBezTo>
                  <a:lnTo>
                    <a:pt x="561205" y="419079"/>
                  </a:lnTo>
                  <a:lnTo>
                    <a:pt x="600288" y="63688"/>
                  </a:lnTo>
                  <a:cubicBezTo>
                    <a:pt x="599560" y="44268"/>
                    <a:pt x="543886" y="4"/>
                    <a:pt x="522522" y="4"/>
                  </a:cubicBezTo>
                  <a:lnTo>
                    <a:pt x="115594" y="4"/>
                  </a:lnTo>
                  <a:cubicBezTo>
                    <a:pt x="94207" y="-270"/>
                    <a:pt x="75454" y="14236"/>
                    <a:pt x="70346" y="35006"/>
                  </a:cubicBezTo>
                  <a:lnTo>
                    <a:pt x="1502" y="335033"/>
                  </a:lnTo>
                  <a:cubicBezTo>
                    <a:pt x="505" y="339380"/>
                    <a:pt x="1" y="343824"/>
                    <a:pt x="0" y="348284"/>
                  </a:cubicBezTo>
                  <a:lnTo>
                    <a:pt x="0" y="608824"/>
                  </a:lnTo>
                  <a:cubicBezTo>
                    <a:pt x="346" y="626959"/>
                    <a:pt x="15321" y="641384"/>
                    <a:pt x="33457" y="641052"/>
                  </a:cubicBezTo>
                  <a:lnTo>
                    <a:pt x="149352" y="641052"/>
                  </a:lnTo>
                  <a:close/>
                </a:path>
              </a:pathLst>
            </a:custGeom>
            <a:solidFill>
              <a:srgbClr val="FFCC0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2" name="Freihandform 345">
              <a:extLst>
                <a:ext uri="{FF2B5EF4-FFF2-40B4-BE49-F238E27FC236}">
                  <a16:creationId xmlns:a16="http://schemas.microsoft.com/office/drawing/2014/main" id="{400CD71C-C16C-53E9-3B1A-7E28669DE3D3}"/>
                </a:ext>
              </a:extLst>
            </p:cNvPr>
            <p:cNvSpPr/>
            <p:nvPr/>
          </p:nvSpPr>
          <p:spPr>
            <a:xfrm flipH="1">
              <a:off x="3627083" y="3051347"/>
              <a:ext cx="429146" cy="246006"/>
            </a:xfrm>
            <a:custGeom>
              <a:avLst/>
              <a:gdLst>
                <a:gd name="connsiteX0" fmla="*/ 429146 w 429146"/>
                <a:gd name="connsiteY0" fmla="*/ 13224 h 246006"/>
                <a:gd name="connsiteX1" fmla="*/ 429146 w 429146"/>
                <a:gd name="connsiteY1" fmla="*/ 66956 h 246006"/>
                <a:gd name="connsiteX2" fmla="*/ 415922 w 429146"/>
                <a:gd name="connsiteY2" fmla="*/ 80181 h 246006"/>
                <a:gd name="connsiteX3" fmla="*/ 156294 w 429146"/>
                <a:gd name="connsiteY3" fmla="*/ 80180 h 246006"/>
                <a:gd name="connsiteX4" fmla="*/ 58312 w 429146"/>
                <a:gd name="connsiteY4" fmla="*/ 178161 h 246006"/>
                <a:gd name="connsiteX5" fmla="*/ 58312 w 429146"/>
                <a:gd name="connsiteY5" fmla="*/ 238631 h 246006"/>
                <a:gd name="connsiteX6" fmla="*/ 50936 w 429146"/>
                <a:gd name="connsiteY6" fmla="*/ 246007 h 246006"/>
                <a:gd name="connsiteX7" fmla="*/ 7376 w 429146"/>
                <a:gd name="connsiteY7" fmla="*/ 246007 h 246006"/>
                <a:gd name="connsiteX8" fmla="*/ 0 w 429146"/>
                <a:gd name="connsiteY8" fmla="*/ 238631 h 246006"/>
                <a:gd name="connsiteX9" fmla="*/ 0 w 429146"/>
                <a:gd name="connsiteY9" fmla="*/ 168168 h 246006"/>
                <a:gd name="connsiteX10" fmla="*/ 168165 w 429146"/>
                <a:gd name="connsiteY10" fmla="*/ 0 h 246006"/>
                <a:gd name="connsiteX11" fmla="*/ 415941 w 429146"/>
                <a:gd name="connsiteY11" fmla="*/ 0 h 246006"/>
                <a:gd name="connsiteX12" fmla="*/ 429146 w 429146"/>
                <a:gd name="connsiteY12" fmla="*/ 13210 h 246006"/>
                <a:gd name="connsiteX13" fmla="*/ 429146 w 429146"/>
                <a:gd name="connsiteY13" fmla="*/ 13224 h 24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9146" h="246006">
                  <a:moveTo>
                    <a:pt x="429146" y="13224"/>
                  </a:moveTo>
                  <a:lnTo>
                    <a:pt x="429146" y="66956"/>
                  </a:lnTo>
                  <a:cubicBezTo>
                    <a:pt x="429146" y="74260"/>
                    <a:pt x="423225" y="80180"/>
                    <a:pt x="415922" y="80181"/>
                  </a:cubicBezTo>
                  <a:lnTo>
                    <a:pt x="156294" y="80180"/>
                  </a:lnTo>
                  <a:cubicBezTo>
                    <a:pt x="102180" y="80180"/>
                    <a:pt x="58313" y="124048"/>
                    <a:pt x="58312" y="178161"/>
                  </a:cubicBezTo>
                  <a:lnTo>
                    <a:pt x="58312" y="238631"/>
                  </a:lnTo>
                  <a:cubicBezTo>
                    <a:pt x="58312" y="242705"/>
                    <a:pt x="55010" y="246007"/>
                    <a:pt x="50936" y="246007"/>
                  </a:cubicBezTo>
                  <a:lnTo>
                    <a:pt x="7376" y="246007"/>
                  </a:lnTo>
                  <a:cubicBezTo>
                    <a:pt x="3302" y="246007"/>
                    <a:pt x="0" y="242705"/>
                    <a:pt x="0" y="238631"/>
                  </a:cubicBezTo>
                  <a:lnTo>
                    <a:pt x="0" y="168168"/>
                  </a:lnTo>
                  <a:cubicBezTo>
                    <a:pt x="-1" y="75291"/>
                    <a:pt x="75288" y="1"/>
                    <a:pt x="168165" y="0"/>
                  </a:cubicBezTo>
                  <a:lnTo>
                    <a:pt x="415941" y="0"/>
                  </a:lnTo>
                  <a:cubicBezTo>
                    <a:pt x="423235" y="2"/>
                    <a:pt x="429147" y="5916"/>
                    <a:pt x="429146" y="13210"/>
                  </a:cubicBezTo>
                  <a:cubicBezTo>
                    <a:pt x="429146" y="13215"/>
                    <a:pt x="429146" y="13220"/>
                    <a:pt x="429146" y="13224"/>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3" name="Freihandform 346">
              <a:extLst>
                <a:ext uri="{FF2B5EF4-FFF2-40B4-BE49-F238E27FC236}">
                  <a16:creationId xmlns:a16="http://schemas.microsoft.com/office/drawing/2014/main" id="{610FFF68-2FA6-F8F0-56CC-5D98448C8900}"/>
                </a:ext>
              </a:extLst>
            </p:cNvPr>
            <p:cNvSpPr/>
            <p:nvPr/>
          </p:nvSpPr>
          <p:spPr>
            <a:xfrm flipH="1">
              <a:off x="2003761" y="3154910"/>
              <a:ext cx="727847" cy="121294"/>
            </a:xfrm>
            <a:custGeom>
              <a:avLst/>
              <a:gdLst>
                <a:gd name="connsiteX0" fmla="*/ 719379 w 727847"/>
                <a:gd name="connsiteY0" fmla="*/ 0 h 121294"/>
                <a:gd name="connsiteX1" fmla="*/ 727847 w 727847"/>
                <a:gd name="connsiteY1" fmla="*/ 0 h 121294"/>
                <a:gd name="connsiteX2" fmla="*/ 727847 w 727847"/>
                <a:gd name="connsiteY2" fmla="*/ 121294 h 121294"/>
                <a:gd name="connsiteX3" fmla="*/ 719379 w 727847"/>
                <a:gd name="connsiteY3" fmla="*/ 121294 h 121294"/>
                <a:gd name="connsiteX4" fmla="*/ 8468 w 727847"/>
                <a:gd name="connsiteY4" fmla="*/ 121294 h 121294"/>
                <a:gd name="connsiteX5" fmla="*/ 0 w 727847"/>
                <a:gd name="connsiteY5" fmla="*/ 121294 h 121294"/>
                <a:gd name="connsiteX6" fmla="*/ 0 w 727847"/>
                <a:gd name="connsiteY6" fmla="*/ 0 h 121294"/>
                <a:gd name="connsiteX7" fmla="*/ 8468 w 727847"/>
                <a:gd name="connsiteY7" fmla="*/ 0 h 12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847" h="121294">
                  <a:moveTo>
                    <a:pt x="719379" y="0"/>
                  </a:moveTo>
                  <a:cubicBezTo>
                    <a:pt x="724056" y="0"/>
                    <a:pt x="727847" y="0"/>
                    <a:pt x="727847" y="0"/>
                  </a:cubicBezTo>
                  <a:lnTo>
                    <a:pt x="727847" y="121294"/>
                  </a:lnTo>
                  <a:cubicBezTo>
                    <a:pt x="727847" y="121294"/>
                    <a:pt x="724056" y="121294"/>
                    <a:pt x="719379" y="121294"/>
                  </a:cubicBezTo>
                  <a:lnTo>
                    <a:pt x="8468" y="121294"/>
                  </a:lnTo>
                  <a:cubicBezTo>
                    <a:pt x="3791" y="121294"/>
                    <a:pt x="0" y="121294"/>
                    <a:pt x="0" y="121294"/>
                  </a:cubicBezTo>
                  <a:lnTo>
                    <a:pt x="0" y="0"/>
                  </a:lnTo>
                  <a:cubicBezTo>
                    <a:pt x="0" y="0"/>
                    <a:pt x="3791" y="0"/>
                    <a:pt x="8468" y="0"/>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4" name="Freihandform 347">
              <a:extLst>
                <a:ext uri="{FF2B5EF4-FFF2-40B4-BE49-F238E27FC236}">
                  <a16:creationId xmlns:a16="http://schemas.microsoft.com/office/drawing/2014/main" id="{9F19F01C-53B4-7C51-DEB2-319E24499BDB}"/>
                </a:ext>
              </a:extLst>
            </p:cNvPr>
            <p:cNvSpPr/>
            <p:nvPr/>
          </p:nvSpPr>
          <p:spPr>
            <a:xfrm flipH="1">
              <a:off x="3778633" y="3147203"/>
              <a:ext cx="198081" cy="198081"/>
            </a:xfrm>
            <a:custGeom>
              <a:avLst/>
              <a:gdLst>
                <a:gd name="connsiteX0" fmla="*/ 198082 w 198081"/>
                <a:gd name="connsiteY0" fmla="*/ 99041 h 198081"/>
                <a:gd name="connsiteX1" fmla="*/ 99041 w 198081"/>
                <a:gd name="connsiteY1" fmla="*/ 198082 h 198081"/>
                <a:gd name="connsiteX2" fmla="*/ 0 w 198081"/>
                <a:gd name="connsiteY2" fmla="*/ 99041 h 198081"/>
                <a:gd name="connsiteX3" fmla="*/ 99041 w 198081"/>
                <a:gd name="connsiteY3" fmla="*/ 0 h 198081"/>
                <a:gd name="connsiteX4" fmla="*/ 198082 w 198081"/>
                <a:gd name="connsiteY4" fmla="*/ 99041 h 198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81" h="198081">
                  <a:moveTo>
                    <a:pt x="198082" y="99041"/>
                  </a:moveTo>
                  <a:cubicBezTo>
                    <a:pt x="198082" y="153740"/>
                    <a:pt x="153740" y="198082"/>
                    <a:pt x="99041" y="198082"/>
                  </a:cubicBezTo>
                  <a:cubicBezTo>
                    <a:pt x="44342" y="198082"/>
                    <a:pt x="0" y="153740"/>
                    <a:pt x="0" y="99041"/>
                  </a:cubicBezTo>
                  <a:cubicBezTo>
                    <a:pt x="0" y="44342"/>
                    <a:pt x="44342" y="0"/>
                    <a:pt x="99041" y="0"/>
                  </a:cubicBezTo>
                  <a:cubicBezTo>
                    <a:pt x="153740" y="0"/>
                    <a:pt x="198082" y="44342"/>
                    <a:pt x="198082" y="99041"/>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5" name="Freihandform 348">
              <a:extLst>
                <a:ext uri="{FF2B5EF4-FFF2-40B4-BE49-F238E27FC236}">
                  <a16:creationId xmlns:a16="http://schemas.microsoft.com/office/drawing/2014/main" id="{04014C1B-0CC0-D358-732E-7814204BD453}"/>
                </a:ext>
              </a:extLst>
            </p:cNvPr>
            <p:cNvSpPr/>
            <p:nvPr/>
          </p:nvSpPr>
          <p:spPr>
            <a:xfrm flipH="1">
              <a:off x="3826841" y="3195412"/>
              <a:ext cx="101664" cy="101664"/>
            </a:xfrm>
            <a:custGeom>
              <a:avLst/>
              <a:gdLst>
                <a:gd name="connsiteX0" fmla="*/ 101664 w 101664"/>
                <a:gd name="connsiteY0" fmla="*/ 50832 h 101664"/>
                <a:gd name="connsiteX1" fmla="*/ 50832 w 101664"/>
                <a:gd name="connsiteY1" fmla="*/ 101664 h 101664"/>
                <a:gd name="connsiteX2" fmla="*/ 0 w 101664"/>
                <a:gd name="connsiteY2" fmla="*/ 50832 h 101664"/>
                <a:gd name="connsiteX3" fmla="*/ 50832 w 101664"/>
                <a:gd name="connsiteY3" fmla="*/ 0 h 101664"/>
                <a:gd name="connsiteX4" fmla="*/ 101664 w 101664"/>
                <a:gd name="connsiteY4" fmla="*/ 50832 h 101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64" h="101664">
                  <a:moveTo>
                    <a:pt x="101664" y="50832"/>
                  </a:moveTo>
                  <a:cubicBezTo>
                    <a:pt x="101664" y="78906"/>
                    <a:pt x="78906" y="101664"/>
                    <a:pt x="50832" y="101664"/>
                  </a:cubicBezTo>
                  <a:cubicBezTo>
                    <a:pt x="22758" y="101664"/>
                    <a:pt x="0" y="78906"/>
                    <a:pt x="0" y="50832"/>
                  </a:cubicBezTo>
                  <a:cubicBezTo>
                    <a:pt x="0" y="22758"/>
                    <a:pt x="22758" y="0"/>
                    <a:pt x="50832" y="0"/>
                  </a:cubicBezTo>
                  <a:cubicBezTo>
                    <a:pt x="78906" y="0"/>
                    <a:pt x="101664" y="22758"/>
                    <a:pt x="101664" y="50832"/>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6" name="Freihandform 349">
              <a:extLst>
                <a:ext uri="{FF2B5EF4-FFF2-40B4-BE49-F238E27FC236}">
                  <a16:creationId xmlns:a16="http://schemas.microsoft.com/office/drawing/2014/main" id="{6D87FCBB-4B1F-011E-4896-FF3C0B2567CC}"/>
                </a:ext>
              </a:extLst>
            </p:cNvPr>
            <p:cNvSpPr/>
            <p:nvPr/>
          </p:nvSpPr>
          <p:spPr>
            <a:xfrm flipH="1">
              <a:off x="3015920" y="3147203"/>
              <a:ext cx="198081" cy="198081"/>
            </a:xfrm>
            <a:custGeom>
              <a:avLst/>
              <a:gdLst>
                <a:gd name="connsiteX0" fmla="*/ 198082 w 198081"/>
                <a:gd name="connsiteY0" fmla="*/ 99041 h 198081"/>
                <a:gd name="connsiteX1" fmla="*/ 99041 w 198081"/>
                <a:gd name="connsiteY1" fmla="*/ 198082 h 198081"/>
                <a:gd name="connsiteX2" fmla="*/ 0 w 198081"/>
                <a:gd name="connsiteY2" fmla="*/ 99041 h 198081"/>
                <a:gd name="connsiteX3" fmla="*/ 99041 w 198081"/>
                <a:gd name="connsiteY3" fmla="*/ 0 h 198081"/>
                <a:gd name="connsiteX4" fmla="*/ 198082 w 198081"/>
                <a:gd name="connsiteY4" fmla="*/ 99041 h 198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81" h="198081">
                  <a:moveTo>
                    <a:pt x="198082" y="99041"/>
                  </a:moveTo>
                  <a:cubicBezTo>
                    <a:pt x="198082" y="153740"/>
                    <a:pt x="153740" y="198082"/>
                    <a:pt x="99041" y="198082"/>
                  </a:cubicBezTo>
                  <a:cubicBezTo>
                    <a:pt x="44342" y="198082"/>
                    <a:pt x="0" y="153740"/>
                    <a:pt x="0" y="99041"/>
                  </a:cubicBezTo>
                  <a:cubicBezTo>
                    <a:pt x="0" y="44342"/>
                    <a:pt x="44342" y="0"/>
                    <a:pt x="99041" y="0"/>
                  </a:cubicBezTo>
                  <a:cubicBezTo>
                    <a:pt x="153740" y="0"/>
                    <a:pt x="198082" y="44342"/>
                    <a:pt x="198082" y="99041"/>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7" name="Freihandform 350">
              <a:extLst>
                <a:ext uri="{FF2B5EF4-FFF2-40B4-BE49-F238E27FC236}">
                  <a16:creationId xmlns:a16="http://schemas.microsoft.com/office/drawing/2014/main" id="{D326B8AA-8F86-6B71-8461-272FC7A437A7}"/>
                </a:ext>
              </a:extLst>
            </p:cNvPr>
            <p:cNvSpPr/>
            <p:nvPr/>
          </p:nvSpPr>
          <p:spPr>
            <a:xfrm flipH="1">
              <a:off x="3206991" y="3154910"/>
              <a:ext cx="573280" cy="146329"/>
            </a:xfrm>
            <a:custGeom>
              <a:avLst/>
              <a:gdLst>
                <a:gd name="connsiteX0" fmla="*/ 547868 w 573280"/>
                <a:gd name="connsiteY0" fmla="*/ 146330 h 146329"/>
                <a:gd name="connsiteX1" fmla="*/ 573280 w 573280"/>
                <a:gd name="connsiteY1" fmla="*/ 0 h 146329"/>
                <a:gd name="connsiteX2" fmla="*/ 0 w 573280"/>
                <a:gd name="connsiteY2" fmla="*/ 0 h 146329"/>
                <a:gd name="connsiteX3" fmla="*/ 0 w 573280"/>
                <a:gd name="connsiteY3" fmla="*/ 332 h 146329"/>
                <a:gd name="connsiteX4" fmla="*/ 24049 w 573280"/>
                <a:gd name="connsiteY4" fmla="*/ 146330 h 146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280" h="146329">
                  <a:moveTo>
                    <a:pt x="547868" y="146330"/>
                  </a:moveTo>
                  <a:cubicBezTo>
                    <a:pt x="524800" y="97054"/>
                    <a:pt x="534942" y="38615"/>
                    <a:pt x="573280" y="0"/>
                  </a:cubicBezTo>
                  <a:lnTo>
                    <a:pt x="0" y="0"/>
                  </a:lnTo>
                  <a:lnTo>
                    <a:pt x="0" y="332"/>
                  </a:lnTo>
                  <a:cubicBezTo>
                    <a:pt x="36788" y="39664"/>
                    <a:pt x="46278" y="97276"/>
                    <a:pt x="24049" y="146330"/>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8" name="Freihandform 351">
              <a:extLst>
                <a:ext uri="{FF2B5EF4-FFF2-40B4-BE49-F238E27FC236}">
                  <a16:creationId xmlns:a16="http://schemas.microsoft.com/office/drawing/2014/main" id="{CE779C98-7835-D6A3-F528-7E9D9B046B12}"/>
                </a:ext>
              </a:extLst>
            </p:cNvPr>
            <p:cNvSpPr/>
            <p:nvPr/>
          </p:nvSpPr>
          <p:spPr>
            <a:xfrm flipH="1">
              <a:off x="3064129" y="3195412"/>
              <a:ext cx="101664" cy="101664"/>
            </a:xfrm>
            <a:custGeom>
              <a:avLst/>
              <a:gdLst>
                <a:gd name="connsiteX0" fmla="*/ 101664 w 101664"/>
                <a:gd name="connsiteY0" fmla="*/ 50832 h 101664"/>
                <a:gd name="connsiteX1" fmla="*/ 50832 w 101664"/>
                <a:gd name="connsiteY1" fmla="*/ 101664 h 101664"/>
                <a:gd name="connsiteX2" fmla="*/ 0 w 101664"/>
                <a:gd name="connsiteY2" fmla="*/ 50832 h 101664"/>
                <a:gd name="connsiteX3" fmla="*/ 50832 w 101664"/>
                <a:gd name="connsiteY3" fmla="*/ 0 h 101664"/>
                <a:gd name="connsiteX4" fmla="*/ 101664 w 101664"/>
                <a:gd name="connsiteY4" fmla="*/ 50832 h 101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64" h="101664">
                  <a:moveTo>
                    <a:pt x="101664" y="50832"/>
                  </a:moveTo>
                  <a:cubicBezTo>
                    <a:pt x="101664" y="78906"/>
                    <a:pt x="78906" y="101664"/>
                    <a:pt x="50832" y="101664"/>
                  </a:cubicBezTo>
                  <a:cubicBezTo>
                    <a:pt x="22758" y="101664"/>
                    <a:pt x="0" y="78906"/>
                    <a:pt x="0" y="50832"/>
                  </a:cubicBezTo>
                  <a:cubicBezTo>
                    <a:pt x="0" y="22758"/>
                    <a:pt x="22758" y="0"/>
                    <a:pt x="50832" y="0"/>
                  </a:cubicBezTo>
                  <a:cubicBezTo>
                    <a:pt x="78906" y="0"/>
                    <a:pt x="101664" y="22758"/>
                    <a:pt x="101664" y="50832"/>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09" name="Freihandform 352">
              <a:extLst>
                <a:ext uri="{FF2B5EF4-FFF2-40B4-BE49-F238E27FC236}">
                  <a16:creationId xmlns:a16="http://schemas.microsoft.com/office/drawing/2014/main" id="{01B6569B-1C1F-68DF-478F-A0D030C4926D}"/>
                </a:ext>
              </a:extLst>
            </p:cNvPr>
            <p:cNvSpPr/>
            <p:nvPr/>
          </p:nvSpPr>
          <p:spPr>
            <a:xfrm flipH="1">
              <a:off x="1769174" y="3147203"/>
              <a:ext cx="198081" cy="198081"/>
            </a:xfrm>
            <a:custGeom>
              <a:avLst/>
              <a:gdLst>
                <a:gd name="connsiteX0" fmla="*/ 198082 w 198081"/>
                <a:gd name="connsiteY0" fmla="*/ 99041 h 198081"/>
                <a:gd name="connsiteX1" fmla="*/ 99041 w 198081"/>
                <a:gd name="connsiteY1" fmla="*/ 198082 h 198081"/>
                <a:gd name="connsiteX2" fmla="*/ 0 w 198081"/>
                <a:gd name="connsiteY2" fmla="*/ 99041 h 198081"/>
                <a:gd name="connsiteX3" fmla="*/ 99041 w 198081"/>
                <a:gd name="connsiteY3" fmla="*/ 0 h 198081"/>
                <a:gd name="connsiteX4" fmla="*/ 198082 w 198081"/>
                <a:gd name="connsiteY4" fmla="*/ 99041 h 198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81" h="198081">
                  <a:moveTo>
                    <a:pt x="198082" y="99041"/>
                  </a:moveTo>
                  <a:cubicBezTo>
                    <a:pt x="198082" y="153740"/>
                    <a:pt x="153740" y="198082"/>
                    <a:pt x="99041" y="198082"/>
                  </a:cubicBezTo>
                  <a:cubicBezTo>
                    <a:pt x="44342" y="198082"/>
                    <a:pt x="0" y="153740"/>
                    <a:pt x="0" y="99041"/>
                  </a:cubicBezTo>
                  <a:cubicBezTo>
                    <a:pt x="0" y="44342"/>
                    <a:pt x="44342" y="0"/>
                    <a:pt x="99041" y="0"/>
                  </a:cubicBezTo>
                  <a:cubicBezTo>
                    <a:pt x="153740" y="0"/>
                    <a:pt x="198082" y="44342"/>
                    <a:pt x="198082" y="99041"/>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0" name="Freihandform 353">
              <a:extLst>
                <a:ext uri="{FF2B5EF4-FFF2-40B4-BE49-F238E27FC236}">
                  <a16:creationId xmlns:a16="http://schemas.microsoft.com/office/drawing/2014/main" id="{E26D04DF-4B0E-16A8-F941-254039F8D4E7}"/>
                </a:ext>
              </a:extLst>
            </p:cNvPr>
            <p:cNvSpPr/>
            <p:nvPr/>
          </p:nvSpPr>
          <p:spPr>
            <a:xfrm flipH="1">
              <a:off x="1817382" y="3195412"/>
              <a:ext cx="101664" cy="101664"/>
            </a:xfrm>
            <a:custGeom>
              <a:avLst/>
              <a:gdLst>
                <a:gd name="connsiteX0" fmla="*/ 101664 w 101664"/>
                <a:gd name="connsiteY0" fmla="*/ 50832 h 101664"/>
                <a:gd name="connsiteX1" fmla="*/ 50832 w 101664"/>
                <a:gd name="connsiteY1" fmla="*/ 101664 h 101664"/>
                <a:gd name="connsiteX2" fmla="*/ 0 w 101664"/>
                <a:gd name="connsiteY2" fmla="*/ 50832 h 101664"/>
                <a:gd name="connsiteX3" fmla="*/ 50832 w 101664"/>
                <a:gd name="connsiteY3" fmla="*/ 0 h 101664"/>
                <a:gd name="connsiteX4" fmla="*/ 101664 w 101664"/>
                <a:gd name="connsiteY4" fmla="*/ 50832 h 101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64" h="101664">
                  <a:moveTo>
                    <a:pt x="101664" y="50832"/>
                  </a:moveTo>
                  <a:cubicBezTo>
                    <a:pt x="101664" y="78906"/>
                    <a:pt x="78906" y="101664"/>
                    <a:pt x="50832" y="101664"/>
                  </a:cubicBezTo>
                  <a:cubicBezTo>
                    <a:pt x="22758" y="101664"/>
                    <a:pt x="0" y="78906"/>
                    <a:pt x="0" y="50832"/>
                  </a:cubicBezTo>
                  <a:cubicBezTo>
                    <a:pt x="0" y="22758"/>
                    <a:pt x="22758" y="0"/>
                    <a:pt x="50832" y="0"/>
                  </a:cubicBezTo>
                  <a:cubicBezTo>
                    <a:pt x="78906" y="0"/>
                    <a:pt x="101664" y="22758"/>
                    <a:pt x="101664" y="50832"/>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1" name="Freihandform 354">
              <a:extLst>
                <a:ext uri="{FF2B5EF4-FFF2-40B4-BE49-F238E27FC236}">
                  <a16:creationId xmlns:a16="http://schemas.microsoft.com/office/drawing/2014/main" id="{6E39017E-6C63-A8E7-74D5-1E2F5806C06E}"/>
                </a:ext>
              </a:extLst>
            </p:cNvPr>
            <p:cNvSpPr/>
            <p:nvPr/>
          </p:nvSpPr>
          <p:spPr>
            <a:xfrm flipH="1">
              <a:off x="1477880" y="3147203"/>
              <a:ext cx="198081" cy="198081"/>
            </a:xfrm>
            <a:custGeom>
              <a:avLst/>
              <a:gdLst>
                <a:gd name="connsiteX0" fmla="*/ 198082 w 198081"/>
                <a:gd name="connsiteY0" fmla="*/ 99041 h 198081"/>
                <a:gd name="connsiteX1" fmla="*/ 99041 w 198081"/>
                <a:gd name="connsiteY1" fmla="*/ 198082 h 198081"/>
                <a:gd name="connsiteX2" fmla="*/ 0 w 198081"/>
                <a:gd name="connsiteY2" fmla="*/ 99041 h 198081"/>
                <a:gd name="connsiteX3" fmla="*/ 99041 w 198081"/>
                <a:gd name="connsiteY3" fmla="*/ 0 h 198081"/>
                <a:gd name="connsiteX4" fmla="*/ 198082 w 198081"/>
                <a:gd name="connsiteY4" fmla="*/ 99041 h 198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81" h="198081">
                  <a:moveTo>
                    <a:pt x="198082" y="99041"/>
                  </a:moveTo>
                  <a:cubicBezTo>
                    <a:pt x="198082" y="153740"/>
                    <a:pt x="153740" y="198082"/>
                    <a:pt x="99041" y="198082"/>
                  </a:cubicBezTo>
                  <a:cubicBezTo>
                    <a:pt x="44342" y="198082"/>
                    <a:pt x="0" y="153740"/>
                    <a:pt x="0" y="99041"/>
                  </a:cubicBezTo>
                  <a:cubicBezTo>
                    <a:pt x="0" y="44342"/>
                    <a:pt x="44342" y="0"/>
                    <a:pt x="99041" y="0"/>
                  </a:cubicBezTo>
                  <a:cubicBezTo>
                    <a:pt x="153739" y="0"/>
                    <a:pt x="198082" y="44342"/>
                    <a:pt x="198082" y="99041"/>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2" name="Freihandform 355">
              <a:extLst>
                <a:ext uri="{FF2B5EF4-FFF2-40B4-BE49-F238E27FC236}">
                  <a16:creationId xmlns:a16="http://schemas.microsoft.com/office/drawing/2014/main" id="{ADBFE125-B7E0-0E69-2876-42F9C3D3B5DD}"/>
                </a:ext>
              </a:extLst>
            </p:cNvPr>
            <p:cNvSpPr/>
            <p:nvPr/>
          </p:nvSpPr>
          <p:spPr>
            <a:xfrm flipH="1">
              <a:off x="1526089" y="3195412"/>
              <a:ext cx="101664" cy="101664"/>
            </a:xfrm>
            <a:custGeom>
              <a:avLst/>
              <a:gdLst>
                <a:gd name="connsiteX0" fmla="*/ 101664 w 101664"/>
                <a:gd name="connsiteY0" fmla="*/ 50832 h 101664"/>
                <a:gd name="connsiteX1" fmla="*/ 50832 w 101664"/>
                <a:gd name="connsiteY1" fmla="*/ 101664 h 101664"/>
                <a:gd name="connsiteX2" fmla="*/ 0 w 101664"/>
                <a:gd name="connsiteY2" fmla="*/ 50832 h 101664"/>
                <a:gd name="connsiteX3" fmla="*/ 50832 w 101664"/>
                <a:gd name="connsiteY3" fmla="*/ 0 h 101664"/>
                <a:gd name="connsiteX4" fmla="*/ 101664 w 101664"/>
                <a:gd name="connsiteY4" fmla="*/ 50832 h 101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64" h="101664">
                  <a:moveTo>
                    <a:pt x="101664" y="50832"/>
                  </a:moveTo>
                  <a:cubicBezTo>
                    <a:pt x="101664" y="78906"/>
                    <a:pt x="78906" y="101664"/>
                    <a:pt x="50832" y="101664"/>
                  </a:cubicBezTo>
                  <a:cubicBezTo>
                    <a:pt x="22758" y="101664"/>
                    <a:pt x="0" y="78906"/>
                    <a:pt x="0" y="50832"/>
                  </a:cubicBezTo>
                  <a:cubicBezTo>
                    <a:pt x="0" y="22758"/>
                    <a:pt x="22758" y="0"/>
                    <a:pt x="50832" y="0"/>
                  </a:cubicBezTo>
                  <a:cubicBezTo>
                    <a:pt x="78906" y="0"/>
                    <a:pt x="101664" y="22758"/>
                    <a:pt x="101664" y="50832"/>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3" name="Freihandform 356">
              <a:extLst>
                <a:ext uri="{FF2B5EF4-FFF2-40B4-BE49-F238E27FC236}">
                  <a16:creationId xmlns:a16="http://schemas.microsoft.com/office/drawing/2014/main" id="{AC9EA9CD-1A41-862A-73B8-8600A08B6060}"/>
                </a:ext>
              </a:extLst>
            </p:cNvPr>
            <p:cNvSpPr/>
            <p:nvPr/>
          </p:nvSpPr>
          <p:spPr>
            <a:xfrm flipH="1">
              <a:off x="1186577" y="3147203"/>
              <a:ext cx="198081" cy="198081"/>
            </a:xfrm>
            <a:custGeom>
              <a:avLst/>
              <a:gdLst>
                <a:gd name="connsiteX0" fmla="*/ 198082 w 198081"/>
                <a:gd name="connsiteY0" fmla="*/ 99041 h 198081"/>
                <a:gd name="connsiteX1" fmla="*/ 99041 w 198081"/>
                <a:gd name="connsiteY1" fmla="*/ 198082 h 198081"/>
                <a:gd name="connsiteX2" fmla="*/ 0 w 198081"/>
                <a:gd name="connsiteY2" fmla="*/ 99041 h 198081"/>
                <a:gd name="connsiteX3" fmla="*/ 99041 w 198081"/>
                <a:gd name="connsiteY3" fmla="*/ 0 h 198081"/>
                <a:gd name="connsiteX4" fmla="*/ 198082 w 198081"/>
                <a:gd name="connsiteY4" fmla="*/ 99041 h 198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81" h="198081">
                  <a:moveTo>
                    <a:pt x="198082" y="99041"/>
                  </a:moveTo>
                  <a:cubicBezTo>
                    <a:pt x="198082" y="153740"/>
                    <a:pt x="153740" y="198082"/>
                    <a:pt x="99041" y="198082"/>
                  </a:cubicBezTo>
                  <a:cubicBezTo>
                    <a:pt x="44342" y="198082"/>
                    <a:pt x="0" y="153740"/>
                    <a:pt x="0" y="99041"/>
                  </a:cubicBezTo>
                  <a:cubicBezTo>
                    <a:pt x="0" y="44342"/>
                    <a:pt x="44342" y="0"/>
                    <a:pt x="99041" y="0"/>
                  </a:cubicBezTo>
                  <a:cubicBezTo>
                    <a:pt x="153739" y="0"/>
                    <a:pt x="198082" y="44342"/>
                    <a:pt x="198082" y="99041"/>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4" name="Freihandform 357">
              <a:extLst>
                <a:ext uri="{FF2B5EF4-FFF2-40B4-BE49-F238E27FC236}">
                  <a16:creationId xmlns:a16="http://schemas.microsoft.com/office/drawing/2014/main" id="{BED48E27-61CC-388C-E4A1-FDFA329FABA8}"/>
                </a:ext>
              </a:extLst>
            </p:cNvPr>
            <p:cNvSpPr/>
            <p:nvPr/>
          </p:nvSpPr>
          <p:spPr>
            <a:xfrm flipH="1">
              <a:off x="1234786" y="3195412"/>
              <a:ext cx="101664" cy="101664"/>
            </a:xfrm>
            <a:custGeom>
              <a:avLst/>
              <a:gdLst>
                <a:gd name="connsiteX0" fmla="*/ 101664 w 101664"/>
                <a:gd name="connsiteY0" fmla="*/ 50832 h 101664"/>
                <a:gd name="connsiteX1" fmla="*/ 50832 w 101664"/>
                <a:gd name="connsiteY1" fmla="*/ 101664 h 101664"/>
                <a:gd name="connsiteX2" fmla="*/ 0 w 101664"/>
                <a:gd name="connsiteY2" fmla="*/ 50832 h 101664"/>
                <a:gd name="connsiteX3" fmla="*/ 50832 w 101664"/>
                <a:gd name="connsiteY3" fmla="*/ 0 h 101664"/>
                <a:gd name="connsiteX4" fmla="*/ 101664 w 101664"/>
                <a:gd name="connsiteY4" fmla="*/ 50832 h 101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64" h="101664">
                  <a:moveTo>
                    <a:pt x="101664" y="50832"/>
                  </a:moveTo>
                  <a:cubicBezTo>
                    <a:pt x="101664" y="78906"/>
                    <a:pt x="78906" y="101664"/>
                    <a:pt x="50832" y="101664"/>
                  </a:cubicBezTo>
                  <a:cubicBezTo>
                    <a:pt x="22758" y="101664"/>
                    <a:pt x="0" y="78906"/>
                    <a:pt x="0" y="50832"/>
                  </a:cubicBezTo>
                  <a:cubicBezTo>
                    <a:pt x="0" y="22758"/>
                    <a:pt x="22758" y="0"/>
                    <a:pt x="50832" y="0"/>
                  </a:cubicBezTo>
                  <a:cubicBezTo>
                    <a:pt x="78906" y="0"/>
                    <a:pt x="101664" y="22758"/>
                    <a:pt x="101664" y="50832"/>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5" name="Freihandform 358">
              <a:extLst>
                <a:ext uri="{FF2B5EF4-FFF2-40B4-BE49-F238E27FC236}">
                  <a16:creationId xmlns:a16="http://schemas.microsoft.com/office/drawing/2014/main" id="{E2BCC5C7-BFA8-06FE-1F3A-B38E774D710D}"/>
                </a:ext>
              </a:extLst>
            </p:cNvPr>
            <p:cNvSpPr/>
            <p:nvPr/>
          </p:nvSpPr>
          <p:spPr>
            <a:xfrm flipH="1">
              <a:off x="4128977" y="2724499"/>
              <a:ext cx="62867" cy="223236"/>
            </a:xfrm>
            <a:custGeom>
              <a:avLst/>
              <a:gdLst>
                <a:gd name="connsiteX0" fmla="*/ 51224 w 62867"/>
                <a:gd name="connsiteY0" fmla="*/ 0 h 223236"/>
                <a:gd name="connsiteX1" fmla="*/ 0 w 62867"/>
                <a:gd name="connsiteY1" fmla="*/ 223236 h 223236"/>
                <a:gd name="connsiteX2" fmla="*/ 15589 w 62867"/>
                <a:gd name="connsiteY2" fmla="*/ 209965 h 223236"/>
                <a:gd name="connsiteX3" fmla="*/ 62364 w 62867"/>
                <a:gd name="connsiteY3" fmla="*/ 20637 h 223236"/>
                <a:gd name="connsiteX4" fmla="*/ 51224 w 62867"/>
                <a:gd name="connsiteY4" fmla="*/ 0 h 22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7" h="223236">
                  <a:moveTo>
                    <a:pt x="51224" y="0"/>
                  </a:moveTo>
                  <a:lnTo>
                    <a:pt x="0" y="223236"/>
                  </a:lnTo>
                  <a:cubicBezTo>
                    <a:pt x="7506" y="222616"/>
                    <a:pt x="13779" y="217276"/>
                    <a:pt x="15589" y="209965"/>
                  </a:cubicBezTo>
                  <a:lnTo>
                    <a:pt x="62364" y="20637"/>
                  </a:lnTo>
                  <a:cubicBezTo>
                    <a:pt x="64497" y="11919"/>
                    <a:pt x="59683" y="3000"/>
                    <a:pt x="51224" y="0"/>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6" name="Freihandform 359">
              <a:extLst>
                <a:ext uri="{FF2B5EF4-FFF2-40B4-BE49-F238E27FC236}">
                  <a16:creationId xmlns:a16="http://schemas.microsoft.com/office/drawing/2014/main" id="{88957475-E750-FB94-28DE-C4BC1B39058C}"/>
                </a:ext>
              </a:extLst>
            </p:cNvPr>
            <p:cNvSpPr/>
            <p:nvPr/>
          </p:nvSpPr>
          <p:spPr>
            <a:xfrm flipH="1">
              <a:off x="3892712" y="2725157"/>
              <a:ext cx="238488" cy="210747"/>
            </a:xfrm>
            <a:custGeom>
              <a:avLst/>
              <a:gdLst>
                <a:gd name="connsiteX0" fmla="*/ 536 w 238488"/>
                <a:gd name="connsiteY0" fmla="*/ 188006 h 210747"/>
                <a:gd name="connsiteX1" fmla="*/ 35161 w 238488"/>
                <a:gd name="connsiteY1" fmla="*/ 14863 h 210747"/>
                <a:gd name="connsiteX2" fmla="*/ 52218 w 238488"/>
                <a:gd name="connsiteY2" fmla="*/ 0 h 210747"/>
                <a:gd name="connsiteX3" fmla="*/ 221026 w 238488"/>
                <a:gd name="connsiteY3" fmla="*/ 0 h 210747"/>
                <a:gd name="connsiteX4" fmla="*/ 238476 w 238488"/>
                <a:gd name="connsiteY4" fmla="*/ 18838 h 210747"/>
                <a:gd name="connsiteX5" fmla="*/ 238476 w 238488"/>
                <a:gd name="connsiteY5" fmla="*/ 136306 h 210747"/>
                <a:gd name="connsiteX6" fmla="*/ 221026 w 238488"/>
                <a:gd name="connsiteY6" fmla="*/ 155143 h 210747"/>
                <a:gd name="connsiteX7" fmla="*/ 128800 w 238488"/>
                <a:gd name="connsiteY7" fmla="*/ 155143 h 210747"/>
                <a:gd name="connsiteX8" fmla="*/ 116160 w 238488"/>
                <a:gd name="connsiteY8" fmla="*/ 160993 h 210747"/>
                <a:gd name="connsiteX9" fmla="*/ 82628 w 238488"/>
                <a:gd name="connsiteY9" fmla="*/ 199016 h 210747"/>
                <a:gd name="connsiteX10" fmla="*/ 71816 w 238488"/>
                <a:gd name="connsiteY10" fmla="*/ 204762 h 210747"/>
                <a:gd name="connsiteX11" fmla="*/ 19421 w 238488"/>
                <a:gd name="connsiteY11" fmla="*/ 210715 h 210747"/>
                <a:gd name="connsiteX12" fmla="*/ 32 w 238488"/>
                <a:gd name="connsiteY12" fmla="*/ 193491 h 210747"/>
                <a:gd name="connsiteX13" fmla="*/ 536 w 238488"/>
                <a:gd name="connsiteY13" fmla="*/ 188006 h 21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488" h="210747">
                  <a:moveTo>
                    <a:pt x="536" y="188006"/>
                  </a:moveTo>
                  <a:lnTo>
                    <a:pt x="35161" y="14863"/>
                  </a:lnTo>
                  <a:cubicBezTo>
                    <a:pt x="36567" y="6470"/>
                    <a:pt x="43713" y="245"/>
                    <a:pt x="52218" y="0"/>
                  </a:cubicBezTo>
                  <a:lnTo>
                    <a:pt x="221026" y="0"/>
                  </a:lnTo>
                  <a:cubicBezTo>
                    <a:pt x="231040" y="397"/>
                    <a:pt x="238845" y="8822"/>
                    <a:pt x="238476" y="18838"/>
                  </a:cubicBezTo>
                  <a:lnTo>
                    <a:pt x="238476" y="136306"/>
                  </a:lnTo>
                  <a:cubicBezTo>
                    <a:pt x="238845" y="146321"/>
                    <a:pt x="231040" y="154746"/>
                    <a:pt x="221026" y="155143"/>
                  </a:cubicBezTo>
                  <a:lnTo>
                    <a:pt x="128800" y="155143"/>
                  </a:lnTo>
                  <a:cubicBezTo>
                    <a:pt x="123941" y="155180"/>
                    <a:pt x="119334" y="157312"/>
                    <a:pt x="116160" y="160993"/>
                  </a:cubicBezTo>
                  <a:lnTo>
                    <a:pt x="82628" y="199016"/>
                  </a:lnTo>
                  <a:cubicBezTo>
                    <a:pt x="79863" y="202208"/>
                    <a:pt x="76009" y="204256"/>
                    <a:pt x="71816" y="204762"/>
                  </a:cubicBezTo>
                  <a:lnTo>
                    <a:pt x="19421" y="210715"/>
                  </a:lnTo>
                  <a:cubicBezTo>
                    <a:pt x="9311" y="211313"/>
                    <a:pt x="630" y="203602"/>
                    <a:pt x="32" y="193491"/>
                  </a:cubicBezTo>
                  <a:cubicBezTo>
                    <a:pt x="-77" y="191648"/>
                    <a:pt x="93" y="189799"/>
                    <a:pt x="536" y="188006"/>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7" name="Freihandform 360">
              <a:extLst>
                <a:ext uri="{FF2B5EF4-FFF2-40B4-BE49-F238E27FC236}">
                  <a16:creationId xmlns:a16="http://schemas.microsoft.com/office/drawing/2014/main" id="{CB8723AE-8A14-0ADC-1F83-4313FE8A5A58}"/>
                </a:ext>
              </a:extLst>
            </p:cNvPr>
            <p:cNvSpPr/>
            <p:nvPr/>
          </p:nvSpPr>
          <p:spPr>
            <a:xfrm flipH="1">
              <a:off x="3600941" y="2694723"/>
              <a:ext cx="64085" cy="356352"/>
            </a:xfrm>
            <a:custGeom>
              <a:avLst/>
              <a:gdLst>
                <a:gd name="connsiteX0" fmla="*/ 0 w 64085"/>
                <a:gd name="connsiteY0" fmla="*/ 0 h 356352"/>
                <a:gd name="connsiteX1" fmla="*/ 51242 w 64085"/>
                <a:gd name="connsiteY1" fmla="*/ 0 h 356352"/>
                <a:gd name="connsiteX2" fmla="*/ 64085 w 64085"/>
                <a:gd name="connsiteY2" fmla="*/ 12843 h 356352"/>
                <a:gd name="connsiteX3" fmla="*/ 64085 w 64085"/>
                <a:gd name="connsiteY3" fmla="*/ 343510 h 356352"/>
                <a:gd name="connsiteX4" fmla="*/ 51242 w 64085"/>
                <a:gd name="connsiteY4" fmla="*/ 356352 h 356352"/>
                <a:gd name="connsiteX5" fmla="*/ 0 w 64085"/>
                <a:gd name="connsiteY5" fmla="*/ 356352 h 356352"/>
                <a:gd name="connsiteX6" fmla="*/ 0 w 64085"/>
                <a:gd name="connsiteY6" fmla="*/ 356352 h 356352"/>
                <a:gd name="connsiteX7" fmla="*/ 0 w 64085"/>
                <a:gd name="connsiteY7" fmla="*/ 0 h 356352"/>
                <a:gd name="connsiteX8" fmla="*/ 0 w 64085"/>
                <a:gd name="connsiteY8" fmla="*/ 0 h 35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85" h="356352">
                  <a:moveTo>
                    <a:pt x="0" y="0"/>
                  </a:moveTo>
                  <a:lnTo>
                    <a:pt x="51242" y="0"/>
                  </a:lnTo>
                  <a:cubicBezTo>
                    <a:pt x="58335" y="0"/>
                    <a:pt x="64085" y="5750"/>
                    <a:pt x="64085" y="12843"/>
                  </a:cubicBezTo>
                  <a:lnTo>
                    <a:pt x="64085" y="343510"/>
                  </a:lnTo>
                  <a:cubicBezTo>
                    <a:pt x="64085" y="350602"/>
                    <a:pt x="58335" y="356352"/>
                    <a:pt x="51242" y="356352"/>
                  </a:cubicBezTo>
                  <a:lnTo>
                    <a:pt x="0" y="356352"/>
                  </a:lnTo>
                  <a:lnTo>
                    <a:pt x="0" y="356352"/>
                  </a:lnTo>
                  <a:lnTo>
                    <a:pt x="0" y="0"/>
                  </a:lnTo>
                  <a:lnTo>
                    <a:pt x="0" y="0"/>
                  </a:lnTo>
                  <a:close/>
                </a:path>
              </a:pathLst>
            </a:custGeom>
            <a:solidFill>
              <a:srgbClr val="FFCC0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8" name="Freihandform 361">
              <a:extLst>
                <a:ext uri="{FF2B5EF4-FFF2-40B4-BE49-F238E27FC236}">
                  <a16:creationId xmlns:a16="http://schemas.microsoft.com/office/drawing/2014/main" id="{9D3BDB3C-9CE4-1C0A-EB6B-C7022A7DC6D9}"/>
                </a:ext>
              </a:extLst>
            </p:cNvPr>
            <p:cNvSpPr/>
            <p:nvPr/>
          </p:nvSpPr>
          <p:spPr>
            <a:xfrm flipH="1">
              <a:off x="958101" y="3179245"/>
              <a:ext cx="131902" cy="106163"/>
            </a:xfrm>
            <a:custGeom>
              <a:avLst/>
              <a:gdLst>
                <a:gd name="connsiteX0" fmla="*/ 0 w 131902"/>
                <a:gd name="connsiteY0" fmla="*/ 0 h 106163"/>
                <a:gd name="connsiteX1" fmla="*/ 131902 w 131902"/>
                <a:gd name="connsiteY1" fmla="*/ 0 h 106163"/>
                <a:gd name="connsiteX2" fmla="*/ 131902 w 131902"/>
                <a:gd name="connsiteY2" fmla="*/ 106164 h 106163"/>
                <a:gd name="connsiteX3" fmla="*/ 0 w 131902"/>
                <a:gd name="connsiteY3" fmla="*/ 106164 h 106163"/>
              </a:gdLst>
              <a:ahLst/>
              <a:cxnLst>
                <a:cxn ang="0">
                  <a:pos x="connsiteX0" y="connsiteY0"/>
                </a:cxn>
                <a:cxn ang="0">
                  <a:pos x="connsiteX1" y="connsiteY1"/>
                </a:cxn>
                <a:cxn ang="0">
                  <a:pos x="connsiteX2" y="connsiteY2"/>
                </a:cxn>
                <a:cxn ang="0">
                  <a:pos x="connsiteX3" y="connsiteY3"/>
                </a:cxn>
              </a:cxnLst>
              <a:rect l="l" t="t" r="r" b="b"/>
              <a:pathLst>
                <a:path w="131902" h="106163">
                  <a:moveTo>
                    <a:pt x="0" y="0"/>
                  </a:moveTo>
                  <a:lnTo>
                    <a:pt x="131902" y="0"/>
                  </a:lnTo>
                  <a:lnTo>
                    <a:pt x="131902" y="106164"/>
                  </a:lnTo>
                  <a:lnTo>
                    <a:pt x="0" y="106164"/>
                  </a:lnTo>
                  <a:close/>
                </a:path>
              </a:pathLst>
            </a:custGeom>
            <a:solidFill>
              <a:srgbClr val="20202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19" name="Freihandform 362">
              <a:extLst>
                <a:ext uri="{FF2B5EF4-FFF2-40B4-BE49-F238E27FC236}">
                  <a16:creationId xmlns:a16="http://schemas.microsoft.com/office/drawing/2014/main" id="{C909EFAA-02D0-187C-2969-5660C0FDF5F5}"/>
                </a:ext>
              </a:extLst>
            </p:cNvPr>
            <p:cNvSpPr/>
            <p:nvPr/>
          </p:nvSpPr>
          <p:spPr>
            <a:xfrm flipH="1">
              <a:off x="2855318" y="3168322"/>
              <a:ext cx="54674" cy="104866"/>
            </a:xfrm>
            <a:custGeom>
              <a:avLst/>
              <a:gdLst>
                <a:gd name="connsiteX0" fmla="*/ 46829 w 54674"/>
                <a:gd name="connsiteY0" fmla="*/ 0 h 104866"/>
                <a:gd name="connsiteX1" fmla="*/ 54675 w 54674"/>
                <a:gd name="connsiteY1" fmla="*/ 0 h 104866"/>
                <a:gd name="connsiteX2" fmla="*/ 54675 w 54674"/>
                <a:gd name="connsiteY2" fmla="*/ 104866 h 104866"/>
                <a:gd name="connsiteX3" fmla="*/ 46829 w 54674"/>
                <a:gd name="connsiteY3" fmla="*/ 104866 h 104866"/>
                <a:gd name="connsiteX4" fmla="*/ 7847 w 54674"/>
                <a:gd name="connsiteY4" fmla="*/ 104866 h 104866"/>
                <a:gd name="connsiteX5" fmla="*/ 0 w 54674"/>
                <a:gd name="connsiteY5" fmla="*/ 104866 h 104866"/>
                <a:gd name="connsiteX6" fmla="*/ 0 w 54674"/>
                <a:gd name="connsiteY6" fmla="*/ 0 h 104866"/>
                <a:gd name="connsiteX7" fmla="*/ 7847 w 54674"/>
                <a:gd name="connsiteY7" fmla="*/ 0 h 10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74" h="104866">
                  <a:moveTo>
                    <a:pt x="46829" y="0"/>
                  </a:moveTo>
                  <a:cubicBezTo>
                    <a:pt x="51162" y="0"/>
                    <a:pt x="54675" y="0"/>
                    <a:pt x="54675" y="0"/>
                  </a:cubicBezTo>
                  <a:lnTo>
                    <a:pt x="54675" y="104866"/>
                  </a:lnTo>
                  <a:cubicBezTo>
                    <a:pt x="54675" y="104866"/>
                    <a:pt x="51162" y="104866"/>
                    <a:pt x="46829" y="104866"/>
                  </a:cubicBezTo>
                  <a:lnTo>
                    <a:pt x="7847" y="104866"/>
                  </a:lnTo>
                  <a:cubicBezTo>
                    <a:pt x="3513" y="104866"/>
                    <a:pt x="0" y="104866"/>
                    <a:pt x="0" y="104866"/>
                  </a:cubicBezTo>
                  <a:lnTo>
                    <a:pt x="0" y="0"/>
                  </a:lnTo>
                  <a:cubicBezTo>
                    <a:pt x="0" y="0"/>
                    <a:pt x="3513" y="0"/>
                    <a:pt x="7847" y="0"/>
                  </a:cubicBezTo>
                  <a:close/>
                </a:path>
              </a:pathLst>
            </a:custGeom>
            <a:solidFill>
              <a:srgbClr val="20202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0" name="Freihandform 363">
              <a:extLst>
                <a:ext uri="{FF2B5EF4-FFF2-40B4-BE49-F238E27FC236}">
                  <a16:creationId xmlns:a16="http://schemas.microsoft.com/office/drawing/2014/main" id="{0881B0E1-F7BB-60FB-7045-4794CEFA7859}"/>
                </a:ext>
              </a:extLst>
            </p:cNvPr>
            <p:cNvSpPr/>
            <p:nvPr/>
          </p:nvSpPr>
          <p:spPr>
            <a:xfrm flipH="1">
              <a:off x="660793" y="3132638"/>
              <a:ext cx="42237" cy="104571"/>
            </a:xfrm>
            <a:custGeom>
              <a:avLst/>
              <a:gdLst>
                <a:gd name="connsiteX0" fmla="*/ 0 w 42237"/>
                <a:gd name="connsiteY0" fmla="*/ 0 h 104571"/>
                <a:gd name="connsiteX1" fmla="*/ 42238 w 42237"/>
                <a:gd name="connsiteY1" fmla="*/ 0 h 104571"/>
                <a:gd name="connsiteX2" fmla="*/ 42238 w 42237"/>
                <a:gd name="connsiteY2" fmla="*/ 104571 h 104571"/>
                <a:gd name="connsiteX3" fmla="*/ 0 w 42237"/>
                <a:gd name="connsiteY3" fmla="*/ 104571 h 104571"/>
              </a:gdLst>
              <a:ahLst/>
              <a:cxnLst>
                <a:cxn ang="0">
                  <a:pos x="connsiteX0" y="connsiteY0"/>
                </a:cxn>
                <a:cxn ang="0">
                  <a:pos x="connsiteX1" y="connsiteY1"/>
                </a:cxn>
                <a:cxn ang="0">
                  <a:pos x="connsiteX2" y="connsiteY2"/>
                </a:cxn>
                <a:cxn ang="0">
                  <a:pos x="connsiteX3" y="connsiteY3"/>
                </a:cxn>
              </a:cxnLst>
              <a:rect l="l" t="t" r="r" b="b"/>
              <a:pathLst>
                <a:path w="42237" h="104571">
                  <a:moveTo>
                    <a:pt x="0" y="0"/>
                  </a:moveTo>
                  <a:lnTo>
                    <a:pt x="42238" y="0"/>
                  </a:lnTo>
                  <a:lnTo>
                    <a:pt x="42238" y="104571"/>
                  </a:lnTo>
                  <a:lnTo>
                    <a:pt x="0" y="104571"/>
                  </a:lnTo>
                  <a:close/>
                </a:path>
              </a:pathLst>
            </a:custGeom>
            <a:solidFill>
              <a:srgbClr val="20202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1" name="Freihandform 364">
              <a:extLst>
                <a:ext uri="{FF2B5EF4-FFF2-40B4-BE49-F238E27FC236}">
                  <a16:creationId xmlns:a16="http://schemas.microsoft.com/office/drawing/2014/main" id="{CB27178D-240D-01D6-2FA0-FB348CB98EBA}"/>
                </a:ext>
              </a:extLst>
            </p:cNvPr>
            <p:cNvSpPr/>
            <p:nvPr/>
          </p:nvSpPr>
          <p:spPr>
            <a:xfrm flipH="1">
              <a:off x="3913481" y="2970934"/>
              <a:ext cx="45971" cy="47969"/>
            </a:xfrm>
            <a:custGeom>
              <a:avLst/>
              <a:gdLst>
                <a:gd name="connsiteX0" fmla="*/ 36473 w 45971"/>
                <a:gd name="connsiteY0" fmla="*/ 0 h 47969"/>
                <a:gd name="connsiteX1" fmla="*/ 45971 w 45971"/>
                <a:gd name="connsiteY1" fmla="*/ 0 h 47969"/>
                <a:gd name="connsiteX2" fmla="*/ 45971 w 45971"/>
                <a:gd name="connsiteY2" fmla="*/ 47970 h 47969"/>
                <a:gd name="connsiteX3" fmla="*/ 36473 w 45971"/>
                <a:gd name="connsiteY3" fmla="*/ 47970 h 47969"/>
                <a:gd name="connsiteX4" fmla="*/ 9498 w 45971"/>
                <a:gd name="connsiteY4" fmla="*/ 47970 h 47969"/>
                <a:gd name="connsiteX5" fmla="*/ 0 w 45971"/>
                <a:gd name="connsiteY5" fmla="*/ 47970 h 47969"/>
                <a:gd name="connsiteX6" fmla="*/ 0 w 45971"/>
                <a:gd name="connsiteY6" fmla="*/ 0 h 47969"/>
                <a:gd name="connsiteX7" fmla="*/ 9498 w 45971"/>
                <a:gd name="connsiteY7" fmla="*/ 0 h 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1" h="47969">
                  <a:moveTo>
                    <a:pt x="36473" y="0"/>
                  </a:moveTo>
                  <a:cubicBezTo>
                    <a:pt x="41719" y="0"/>
                    <a:pt x="45971" y="0"/>
                    <a:pt x="45971" y="0"/>
                  </a:cubicBezTo>
                  <a:lnTo>
                    <a:pt x="45971" y="47970"/>
                  </a:lnTo>
                  <a:cubicBezTo>
                    <a:pt x="45971" y="47970"/>
                    <a:pt x="41719" y="47970"/>
                    <a:pt x="36473" y="47970"/>
                  </a:cubicBezTo>
                  <a:lnTo>
                    <a:pt x="9498" y="47970"/>
                  </a:lnTo>
                  <a:cubicBezTo>
                    <a:pt x="4252" y="47970"/>
                    <a:pt x="0" y="47970"/>
                    <a:pt x="0" y="47970"/>
                  </a:cubicBezTo>
                  <a:lnTo>
                    <a:pt x="0" y="0"/>
                  </a:lnTo>
                  <a:cubicBezTo>
                    <a:pt x="0" y="0"/>
                    <a:pt x="4252" y="0"/>
                    <a:pt x="9498" y="0"/>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2" name="Freihandform 365">
              <a:extLst>
                <a:ext uri="{FF2B5EF4-FFF2-40B4-BE49-F238E27FC236}">
                  <a16:creationId xmlns:a16="http://schemas.microsoft.com/office/drawing/2014/main" id="{CE445484-452C-0543-0A83-CCC0073900C7}"/>
                </a:ext>
              </a:extLst>
            </p:cNvPr>
            <p:cNvSpPr/>
            <p:nvPr/>
          </p:nvSpPr>
          <p:spPr>
            <a:xfrm flipH="1">
              <a:off x="4177392" y="3145489"/>
              <a:ext cx="23837" cy="108037"/>
            </a:xfrm>
            <a:custGeom>
              <a:avLst/>
              <a:gdLst>
                <a:gd name="connsiteX0" fmla="*/ 11424 w 23837"/>
                <a:gd name="connsiteY0" fmla="*/ 0 h 108037"/>
                <a:gd name="connsiteX1" fmla="*/ 0 w 23837"/>
                <a:gd name="connsiteY1" fmla="*/ 0 h 108037"/>
                <a:gd name="connsiteX2" fmla="*/ 0 w 23837"/>
                <a:gd name="connsiteY2" fmla="*/ 108037 h 108037"/>
                <a:gd name="connsiteX3" fmla="*/ 11424 w 23837"/>
                <a:gd name="connsiteY3" fmla="*/ 108037 h 108037"/>
                <a:gd name="connsiteX4" fmla="*/ 23838 w 23837"/>
                <a:gd name="connsiteY4" fmla="*/ 95624 h 108037"/>
                <a:gd name="connsiteX5" fmla="*/ 23838 w 23837"/>
                <a:gd name="connsiteY5" fmla="*/ 12413 h 108037"/>
                <a:gd name="connsiteX6" fmla="*/ 11424 w 23837"/>
                <a:gd name="connsiteY6" fmla="*/ 0 h 10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37" h="108037">
                  <a:moveTo>
                    <a:pt x="11424" y="0"/>
                  </a:moveTo>
                  <a:lnTo>
                    <a:pt x="0" y="0"/>
                  </a:lnTo>
                  <a:lnTo>
                    <a:pt x="0" y="108037"/>
                  </a:lnTo>
                  <a:lnTo>
                    <a:pt x="11424" y="108037"/>
                  </a:lnTo>
                  <a:cubicBezTo>
                    <a:pt x="18280" y="108037"/>
                    <a:pt x="23837" y="102480"/>
                    <a:pt x="23838" y="95624"/>
                  </a:cubicBezTo>
                  <a:lnTo>
                    <a:pt x="23838" y="12413"/>
                  </a:lnTo>
                  <a:cubicBezTo>
                    <a:pt x="23837" y="5558"/>
                    <a:pt x="18280" y="0"/>
                    <a:pt x="11424" y="0"/>
                  </a:cubicBezTo>
                  <a:close/>
                </a:path>
              </a:pathLst>
            </a:custGeom>
            <a:solidFill>
              <a:srgbClr val="CCCCCC"/>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3" name="Freihandform 366">
              <a:extLst>
                <a:ext uri="{FF2B5EF4-FFF2-40B4-BE49-F238E27FC236}">
                  <a16:creationId xmlns:a16="http://schemas.microsoft.com/office/drawing/2014/main" id="{4A5EC85A-65FE-F5EC-ED61-62B27BC4EA8B}"/>
                </a:ext>
              </a:extLst>
            </p:cNvPr>
            <p:cNvSpPr/>
            <p:nvPr/>
          </p:nvSpPr>
          <p:spPr>
            <a:xfrm flipH="1">
              <a:off x="3735606" y="3154910"/>
              <a:ext cx="51266" cy="162571"/>
            </a:xfrm>
            <a:custGeom>
              <a:avLst/>
              <a:gdLst>
                <a:gd name="connsiteX0" fmla="*/ 51266 w 51266"/>
                <a:gd name="connsiteY0" fmla="*/ 160076 h 162571"/>
                <a:gd name="connsiteX1" fmla="*/ 51266 w 51266"/>
                <a:gd name="connsiteY1" fmla="*/ 2436 h 162571"/>
                <a:gd name="connsiteX2" fmla="*/ 48832 w 51266"/>
                <a:gd name="connsiteY2" fmla="*/ 0 h 162571"/>
                <a:gd name="connsiteX3" fmla="*/ 48832 w 51266"/>
                <a:gd name="connsiteY3" fmla="*/ 0 h 162571"/>
                <a:gd name="connsiteX4" fmla="*/ 2436 w 51266"/>
                <a:gd name="connsiteY4" fmla="*/ 0 h 162571"/>
                <a:gd name="connsiteX5" fmla="*/ 0 w 51266"/>
                <a:gd name="connsiteY5" fmla="*/ 2436 h 162571"/>
                <a:gd name="connsiteX6" fmla="*/ 400 w 51266"/>
                <a:gd name="connsiteY6" fmla="*/ 3772 h 162571"/>
                <a:gd name="connsiteX7" fmla="*/ 400 w 51266"/>
                <a:gd name="connsiteY7" fmla="*/ 3772 h 162571"/>
                <a:gd name="connsiteX8" fmla="*/ 29966 w 51266"/>
                <a:gd name="connsiteY8" fmla="*/ 102653 h 162571"/>
                <a:gd name="connsiteX9" fmla="*/ 29966 w 51266"/>
                <a:gd name="connsiteY9" fmla="*/ 159865 h 162571"/>
                <a:gd name="connsiteX10" fmla="*/ 32345 w 51266"/>
                <a:gd name="connsiteY10" fmla="*/ 162299 h 162571"/>
                <a:gd name="connsiteX11" fmla="*/ 48924 w 51266"/>
                <a:gd name="connsiteY11" fmla="*/ 162512 h 162571"/>
                <a:gd name="connsiteX12" fmla="*/ 51266 w 51266"/>
                <a:gd name="connsiteY12" fmla="*/ 160076 h 16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266" h="162571">
                  <a:moveTo>
                    <a:pt x="51266" y="160076"/>
                  </a:moveTo>
                  <a:lnTo>
                    <a:pt x="51266" y="2436"/>
                  </a:lnTo>
                  <a:cubicBezTo>
                    <a:pt x="51266" y="1091"/>
                    <a:pt x="50177" y="0"/>
                    <a:pt x="48832" y="0"/>
                  </a:cubicBezTo>
                  <a:cubicBezTo>
                    <a:pt x="48832" y="0"/>
                    <a:pt x="48832" y="0"/>
                    <a:pt x="48832" y="0"/>
                  </a:cubicBezTo>
                  <a:lnTo>
                    <a:pt x="2436" y="0"/>
                  </a:lnTo>
                  <a:cubicBezTo>
                    <a:pt x="1091" y="0"/>
                    <a:pt x="0" y="1091"/>
                    <a:pt x="0" y="2436"/>
                  </a:cubicBezTo>
                  <a:cubicBezTo>
                    <a:pt x="0" y="2910"/>
                    <a:pt x="139" y="3375"/>
                    <a:pt x="400" y="3772"/>
                  </a:cubicBezTo>
                  <a:lnTo>
                    <a:pt x="400" y="3772"/>
                  </a:lnTo>
                  <a:cubicBezTo>
                    <a:pt x="19688" y="33143"/>
                    <a:pt x="29966" y="67514"/>
                    <a:pt x="29966" y="102653"/>
                  </a:cubicBezTo>
                  <a:lnTo>
                    <a:pt x="29966" y="159865"/>
                  </a:lnTo>
                  <a:cubicBezTo>
                    <a:pt x="29963" y="161189"/>
                    <a:pt x="31021" y="162272"/>
                    <a:pt x="32345" y="162299"/>
                  </a:cubicBezTo>
                  <a:cubicBezTo>
                    <a:pt x="38062" y="162419"/>
                    <a:pt x="43232" y="162691"/>
                    <a:pt x="48924" y="162512"/>
                  </a:cubicBezTo>
                  <a:cubicBezTo>
                    <a:pt x="50237" y="162470"/>
                    <a:pt x="51276" y="161390"/>
                    <a:pt x="51266" y="160076"/>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4" name="Freihandform 367">
              <a:extLst>
                <a:ext uri="{FF2B5EF4-FFF2-40B4-BE49-F238E27FC236}">
                  <a16:creationId xmlns:a16="http://schemas.microsoft.com/office/drawing/2014/main" id="{BEE3643C-C8C2-CB05-6316-F542B266F896}"/>
                </a:ext>
              </a:extLst>
            </p:cNvPr>
            <p:cNvSpPr/>
            <p:nvPr/>
          </p:nvSpPr>
          <p:spPr>
            <a:xfrm flipH="1">
              <a:off x="2966485" y="3154910"/>
              <a:ext cx="51263" cy="132789"/>
            </a:xfrm>
            <a:custGeom>
              <a:avLst/>
              <a:gdLst>
                <a:gd name="connsiteX0" fmla="*/ 51264 w 51263"/>
                <a:gd name="connsiteY0" fmla="*/ 130294 h 132789"/>
                <a:gd name="connsiteX1" fmla="*/ 51264 w 51263"/>
                <a:gd name="connsiteY1" fmla="*/ 2436 h 132789"/>
                <a:gd name="connsiteX2" fmla="*/ 48825 w 51263"/>
                <a:gd name="connsiteY2" fmla="*/ 0 h 132789"/>
                <a:gd name="connsiteX3" fmla="*/ 2429 w 51263"/>
                <a:gd name="connsiteY3" fmla="*/ 0 h 132789"/>
                <a:gd name="connsiteX4" fmla="*/ 0 w 51263"/>
                <a:gd name="connsiteY4" fmla="*/ 2436 h 132789"/>
                <a:gd name="connsiteX5" fmla="*/ 400 w 51263"/>
                <a:gd name="connsiteY5" fmla="*/ 3772 h 132789"/>
                <a:gd name="connsiteX6" fmla="*/ 400 w 51263"/>
                <a:gd name="connsiteY6" fmla="*/ 3772 h 132789"/>
                <a:gd name="connsiteX7" fmla="*/ 29966 w 51263"/>
                <a:gd name="connsiteY7" fmla="*/ 102653 h 132789"/>
                <a:gd name="connsiteX8" fmla="*/ 29966 w 51263"/>
                <a:gd name="connsiteY8" fmla="*/ 130083 h 132789"/>
                <a:gd name="connsiteX9" fmla="*/ 32337 w 51263"/>
                <a:gd name="connsiteY9" fmla="*/ 132518 h 132789"/>
                <a:gd name="connsiteX10" fmla="*/ 48920 w 51263"/>
                <a:gd name="connsiteY10" fmla="*/ 132730 h 132789"/>
                <a:gd name="connsiteX11" fmla="*/ 51264 w 51263"/>
                <a:gd name="connsiteY11" fmla="*/ 130294 h 132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63" h="132789">
                  <a:moveTo>
                    <a:pt x="51264" y="130294"/>
                  </a:moveTo>
                  <a:lnTo>
                    <a:pt x="51264" y="2436"/>
                  </a:lnTo>
                  <a:cubicBezTo>
                    <a:pt x="51264" y="1091"/>
                    <a:pt x="50168" y="0"/>
                    <a:pt x="48825" y="0"/>
                  </a:cubicBezTo>
                  <a:lnTo>
                    <a:pt x="2429" y="0"/>
                  </a:lnTo>
                  <a:cubicBezTo>
                    <a:pt x="1086" y="0"/>
                    <a:pt x="0" y="1091"/>
                    <a:pt x="0" y="2436"/>
                  </a:cubicBezTo>
                  <a:cubicBezTo>
                    <a:pt x="0" y="2910"/>
                    <a:pt x="133" y="3375"/>
                    <a:pt x="400" y="3772"/>
                  </a:cubicBezTo>
                  <a:lnTo>
                    <a:pt x="400" y="3772"/>
                  </a:lnTo>
                  <a:cubicBezTo>
                    <a:pt x="19688" y="33143"/>
                    <a:pt x="29966" y="67514"/>
                    <a:pt x="29966" y="102653"/>
                  </a:cubicBezTo>
                  <a:lnTo>
                    <a:pt x="29966" y="130083"/>
                  </a:lnTo>
                  <a:cubicBezTo>
                    <a:pt x="29956" y="131408"/>
                    <a:pt x="31013" y="132490"/>
                    <a:pt x="32337" y="132518"/>
                  </a:cubicBezTo>
                  <a:cubicBezTo>
                    <a:pt x="38062" y="132637"/>
                    <a:pt x="43224" y="132909"/>
                    <a:pt x="48920" y="132730"/>
                  </a:cubicBezTo>
                  <a:cubicBezTo>
                    <a:pt x="50235" y="132689"/>
                    <a:pt x="51273" y="131608"/>
                    <a:pt x="51264" y="130294"/>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5" name="Freihandform 368">
              <a:extLst>
                <a:ext uri="{FF2B5EF4-FFF2-40B4-BE49-F238E27FC236}">
                  <a16:creationId xmlns:a16="http://schemas.microsoft.com/office/drawing/2014/main" id="{0BC0429A-92C1-D544-CFFC-6618711AAA98}"/>
                </a:ext>
              </a:extLst>
            </p:cNvPr>
            <p:cNvSpPr/>
            <p:nvPr/>
          </p:nvSpPr>
          <p:spPr>
            <a:xfrm flipH="1">
              <a:off x="1135199" y="3154910"/>
              <a:ext cx="51273" cy="132789"/>
            </a:xfrm>
            <a:custGeom>
              <a:avLst/>
              <a:gdLst>
                <a:gd name="connsiteX0" fmla="*/ 51273 w 51273"/>
                <a:gd name="connsiteY0" fmla="*/ 130294 h 132789"/>
                <a:gd name="connsiteX1" fmla="*/ 51273 w 51273"/>
                <a:gd name="connsiteY1" fmla="*/ 2436 h 132789"/>
                <a:gd name="connsiteX2" fmla="*/ 48835 w 51273"/>
                <a:gd name="connsiteY2" fmla="*/ 0 h 132789"/>
                <a:gd name="connsiteX3" fmla="*/ 48835 w 51273"/>
                <a:gd name="connsiteY3" fmla="*/ 0 h 132789"/>
                <a:gd name="connsiteX4" fmla="*/ 2438 w 51273"/>
                <a:gd name="connsiteY4" fmla="*/ 0 h 132789"/>
                <a:gd name="connsiteX5" fmla="*/ 0 w 51273"/>
                <a:gd name="connsiteY5" fmla="*/ 2436 h 132789"/>
                <a:gd name="connsiteX6" fmla="*/ 400 w 51273"/>
                <a:gd name="connsiteY6" fmla="*/ 3772 h 132789"/>
                <a:gd name="connsiteX7" fmla="*/ 400 w 51273"/>
                <a:gd name="connsiteY7" fmla="*/ 3772 h 132789"/>
                <a:gd name="connsiteX8" fmla="*/ 29966 w 51273"/>
                <a:gd name="connsiteY8" fmla="*/ 102653 h 132789"/>
                <a:gd name="connsiteX9" fmla="*/ 29966 w 51273"/>
                <a:gd name="connsiteY9" fmla="*/ 130083 h 132789"/>
                <a:gd name="connsiteX10" fmla="*/ 32347 w 51273"/>
                <a:gd name="connsiteY10" fmla="*/ 132518 h 132789"/>
                <a:gd name="connsiteX11" fmla="*/ 48930 w 51273"/>
                <a:gd name="connsiteY11" fmla="*/ 132730 h 132789"/>
                <a:gd name="connsiteX12" fmla="*/ 51273 w 51273"/>
                <a:gd name="connsiteY12" fmla="*/ 130294 h 132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273" h="132789">
                  <a:moveTo>
                    <a:pt x="51273" y="130294"/>
                  </a:moveTo>
                  <a:lnTo>
                    <a:pt x="51273" y="2436"/>
                  </a:lnTo>
                  <a:cubicBezTo>
                    <a:pt x="51273" y="1091"/>
                    <a:pt x="50178" y="0"/>
                    <a:pt x="48835" y="0"/>
                  </a:cubicBezTo>
                  <a:cubicBezTo>
                    <a:pt x="48835" y="0"/>
                    <a:pt x="48835" y="0"/>
                    <a:pt x="48835" y="0"/>
                  </a:cubicBezTo>
                  <a:lnTo>
                    <a:pt x="2438" y="0"/>
                  </a:lnTo>
                  <a:cubicBezTo>
                    <a:pt x="1095" y="0"/>
                    <a:pt x="0" y="1091"/>
                    <a:pt x="0" y="2436"/>
                  </a:cubicBezTo>
                  <a:cubicBezTo>
                    <a:pt x="0" y="2910"/>
                    <a:pt x="143" y="3375"/>
                    <a:pt x="400" y="3772"/>
                  </a:cubicBezTo>
                  <a:lnTo>
                    <a:pt x="400" y="3772"/>
                  </a:lnTo>
                  <a:cubicBezTo>
                    <a:pt x="19688" y="33143"/>
                    <a:pt x="29966" y="67514"/>
                    <a:pt x="29966" y="102653"/>
                  </a:cubicBezTo>
                  <a:lnTo>
                    <a:pt x="29966" y="130083"/>
                  </a:lnTo>
                  <a:cubicBezTo>
                    <a:pt x="29966" y="131408"/>
                    <a:pt x="31023" y="132490"/>
                    <a:pt x="32347" y="132518"/>
                  </a:cubicBezTo>
                  <a:cubicBezTo>
                    <a:pt x="38062" y="132637"/>
                    <a:pt x="43234" y="132909"/>
                    <a:pt x="48930" y="132730"/>
                  </a:cubicBezTo>
                  <a:cubicBezTo>
                    <a:pt x="50235" y="132688"/>
                    <a:pt x="51273" y="131608"/>
                    <a:pt x="51273" y="130294"/>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6" name="Freihandform 369">
              <a:extLst>
                <a:ext uri="{FF2B5EF4-FFF2-40B4-BE49-F238E27FC236}">
                  <a16:creationId xmlns:a16="http://schemas.microsoft.com/office/drawing/2014/main" id="{6FE116BA-02AF-22AE-50CE-BC5D6E88BB41}"/>
                </a:ext>
              </a:extLst>
            </p:cNvPr>
            <p:cNvSpPr/>
            <p:nvPr/>
          </p:nvSpPr>
          <p:spPr>
            <a:xfrm flipH="1">
              <a:off x="1967951" y="3154910"/>
              <a:ext cx="51263" cy="132789"/>
            </a:xfrm>
            <a:custGeom>
              <a:avLst/>
              <a:gdLst>
                <a:gd name="connsiteX0" fmla="*/ 0 w 51263"/>
                <a:gd name="connsiteY0" fmla="*/ 130294 h 132789"/>
                <a:gd name="connsiteX1" fmla="*/ 0 w 51263"/>
                <a:gd name="connsiteY1" fmla="*/ 2436 h 132789"/>
                <a:gd name="connsiteX2" fmla="*/ 2429 w 51263"/>
                <a:gd name="connsiteY2" fmla="*/ 0 h 132789"/>
                <a:gd name="connsiteX3" fmla="*/ 2429 w 51263"/>
                <a:gd name="connsiteY3" fmla="*/ 0 h 132789"/>
                <a:gd name="connsiteX4" fmla="*/ 48825 w 51263"/>
                <a:gd name="connsiteY4" fmla="*/ 0 h 132789"/>
                <a:gd name="connsiteX5" fmla="*/ 51264 w 51263"/>
                <a:gd name="connsiteY5" fmla="*/ 2436 h 132789"/>
                <a:gd name="connsiteX6" fmla="*/ 50864 w 51263"/>
                <a:gd name="connsiteY6" fmla="*/ 3772 h 132789"/>
                <a:gd name="connsiteX7" fmla="*/ 50864 w 51263"/>
                <a:gd name="connsiteY7" fmla="*/ 3772 h 132789"/>
                <a:gd name="connsiteX8" fmla="*/ 21298 w 51263"/>
                <a:gd name="connsiteY8" fmla="*/ 102653 h 132789"/>
                <a:gd name="connsiteX9" fmla="*/ 21298 w 51263"/>
                <a:gd name="connsiteY9" fmla="*/ 130083 h 132789"/>
                <a:gd name="connsiteX10" fmla="*/ 18917 w 51263"/>
                <a:gd name="connsiteY10" fmla="*/ 132518 h 132789"/>
                <a:gd name="connsiteX11" fmla="*/ 2343 w 51263"/>
                <a:gd name="connsiteY11" fmla="*/ 132730 h 132789"/>
                <a:gd name="connsiteX12" fmla="*/ 0 w 51263"/>
                <a:gd name="connsiteY12" fmla="*/ 130294 h 132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263" h="132789">
                  <a:moveTo>
                    <a:pt x="0" y="130294"/>
                  </a:moveTo>
                  <a:lnTo>
                    <a:pt x="0" y="2436"/>
                  </a:lnTo>
                  <a:cubicBezTo>
                    <a:pt x="0" y="1091"/>
                    <a:pt x="1086" y="0"/>
                    <a:pt x="2429" y="0"/>
                  </a:cubicBezTo>
                  <a:cubicBezTo>
                    <a:pt x="2429" y="0"/>
                    <a:pt x="2429" y="0"/>
                    <a:pt x="2429" y="0"/>
                  </a:cubicBezTo>
                  <a:lnTo>
                    <a:pt x="48825" y="0"/>
                  </a:lnTo>
                  <a:cubicBezTo>
                    <a:pt x="50178" y="0"/>
                    <a:pt x="51264" y="1091"/>
                    <a:pt x="51264" y="2436"/>
                  </a:cubicBezTo>
                  <a:cubicBezTo>
                    <a:pt x="51264" y="2910"/>
                    <a:pt x="51121" y="3375"/>
                    <a:pt x="50864" y="3772"/>
                  </a:cubicBezTo>
                  <a:lnTo>
                    <a:pt x="50864" y="3772"/>
                  </a:lnTo>
                  <a:cubicBezTo>
                    <a:pt x="31575" y="33143"/>
                    <a:pt x="21298" y="67514"/>
                    <a:pt x="21298" y="102653"/>
                  </a:cubicBezTo>
                  <a:lnTo>
                    <a:pt x="21298" y="130083"/>
                  </a:lnTo>
                  <a:cubicBezTo>
                    <a:pt x="21298" y="131408"/>
                    <a:pt x="20241" y="132490"/>
                    <a:pt x="18917" y="132518"/>
                  </a:cubicBezTo>
                  <a:cubicBezTo>
                    <a:pt x="13202" y="132637"/>
                    <a:pt x="8030" y="132909"/>
                    <a:pt x="2343" y="132730"/>
                  </a:cubicBezTo>
                  <a:cubicBezTo>
                    <a:pt x="1029" y="132688"/>
                    <a:pt x="-9" y="131608"/>
                    <a:pt x="0" y="130294"/>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7" name="Freihandform 370">
              <a:extLst>
                <a:ext uri="{FF2B5EF4-FFF2-40B4-BE49-F238E27FC236}">
                  <a16:creationId xmlns:a16="http://schemas.microsoft.com/office/drawing/2014/main" id="{DC6C2B11-4834-381A-5CB5-BF5BF9905D49}"/>
                </a:ext>
              </a:extLst>
            </p:cNvPr>
            <p:cNvSpPr/>
            <p:nvPr/>
          </p:nvSpPr>
          <p:spPr>
            <a:xfrm flipH="1">
              <a:off x="3611950" y="3220080"/>
              <a:ext cx="71039" cy="33445"/>
            </a:xfrm>
            <a:custGeom>
              <a:avLst/>
              <a:gdLst>
                <a:gd name="connsiteX0" fmla="*/ 65710 w 71039"/>
                <a:gd name="connsiteY0" fmla="*/ 0 h 33445"/>
                <a:gd name="connsiteX1" fmla="*/ 71040 w 71039"/>
                <a:gd name="connsiteY1" fmla="*/ 0 h 33445"/>
                <a:gd name="connsiteX2" fmla="*/ 71040 w 71039"/>
                <a:gd name="connsiteY2" fmla="*/ 33446 h 33445"/>
                <a:gd name="connsiteX3" fmla="*/ 65710 w 71039"/>
                <a:gd name="connsiteY3" fmla="*/ 33446 h 33445"/>
                <a:gd name="connsiteX4" fmla="*/ 5329 w 71039"/>
                <a:gd name="connsiteY4" fmla="*/ 33446 h 33445"/>
                <a:gd name="connsiteX5" fmla="*/ 0 w 71039"/>
                <a:gd name="connsiteY5" fmla="*/ 33446 h 33445"/>
                <a:gd name="connsiteX6" fmla="*/ 0 w 71039"/>
                <a:gd name="connsiteY6" fmla="*/ 0 h 33445"/>
                <a:gd name="connsiteX7" fmla="*/ 5329 w 71039"/>
                <a:gd name="connsiteY7" fmla="*/ 0 h 3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39" h="33445">
                  <a:moveTo>
                    <a:pt x="65710" y="0"/>
                  </a:moveTo>
                  <a:cubicBezTo>
                    <a:pt x="68654" y="0"/>
                    <a:pt x="71040" y="0"/>
                    <a:pt x="71040" y="0"/>
                  </a:cubicBezTo>
                  <a:lnTo>
                    <a:pt x="71040" y="33446"/>
                  </a:lnTo>
                  <a:cubicBezTo>
                    <a:pt x="71040" y="33446"/>
                    <a:pt x="68654" y="33446"/>
                    <a:pt x="65710" y="33446"/>
                  </a:cubicBezTo>
                  <a:lnTo>
                    <a:pt x="5329" y="33446"/>
                  </a:lnTo>
                  <a:cubicBezTo>
                    <a:pt x="2386" y="33446"/>
                    <a:pt x="0" y="33446"/>
                    <a:pt x="0" y="33446"/>
                  </a:cubicBezTo>
                  <a:lnTo>
                    <a:pt x="0" y="0"/>
                  </a:lnTo>
                  <a:cubicBezTo>
                    <a:pt x="0" y="0"/>
                    <a:pt x="2386" y="0"/>
                    <a:pt x="5329" y="0"/>
                  </a:cubicBezTo>
                  <a:close/>
                </a:path>
              </a:pathLst>
            </a:custGeom>
            <a:solidFill>
              <a:srgbClr val="20202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8" name="Freihandform 371">
              <a:extLst>
                <a:ext uri="{FF2B5EF4-FFF2-40B4-BE49-F238E27FC236}">
                  <a16:creationId xmlns:a16="http://schemas.microsoft.com/office/drawing/2014/main" id="{89ABCBD4-6327-24DF-15B0-A3019897D91F}"/>
                </a:ext>
              </a:extLst>
            </p:cNvPr>
            <p:cNvSpPr/>
            <p:nvPr/>
          </p:nvSpPr>
          <p:spPr>
            <a:xfrm flipH="1">
              <a:off x="3713577" y="2724823"/>
              <a:ext cx="34955" cy="209733"/>
            </a:xfrm>
            <a:custGeom>
              <a:avLst/>
              <a:gdLst>
                <a:gd name="connsiteX0" fmla="*/ 5120 w 34955"/>
                <a:gd name="connsiteY0" fmla="*/ 0 h 209733"/>
                <a:gd name="connsiteX1" fmla="*/ 18695 w 34955"/>
                <a:gd name="connsiteY1" fmla="*/ 0 h 209733"/>
                <a:gd name="connsiteX2" fmla="*/ 34956 w 34955"/>
                <a:gd name="connsiteY2" fmla="*/ 16261 h 209733"/>
                <a:gd name="connsiteX3" fmla="*/ 34956 w 34955"/>
                <a:gd name="connsiteY3" fmla="*/ 16262 h 209733"/>
                <a:gd name="connsiteX4" fmla="*/ 34956 w 34955"/>
                <a:gd name="connsiteY4" fmla="*/ 193473 h 209733"/>
                <a:gd name="connsiteX5" fmla="*/ 18695 w 34955"/>
                <a:gd name="connsiteY5" fmla="*/ 209734 h 209733"/>
                <a:gd name="connsiteX6" fmla="*/ 5120 w 34955"/>
                <a:gd name="connsiteY6" fmla="*/ 209734 h 209733"/>
                <a:gd name="connsiteX7" fmla="*/ 0 w 34955"/>
                <a:gd name="connsiteY7" fmla="*/ 204615 h 209733"/>
                <a:gd name="connsiteX8" fmla="*/ 0 w 34955"/>
                <a:gd name="connsiteY8" fmla="*/ 5120 h 209733"/>
                <a:gd name="connsiteX9" fmla="*/ 5120 w 34955"/>
                <a:gd name="connsiteY9" fmla="*/ 0 h 20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55" h="209733">
                  <a:moveTo>
                    <a:pt x="5120" y="0"/>
                  </a:moveTo>
                  <a:lnTo>
                    <a:pt x="18695" y="0"/>
                  </a:lnTo>
                  <a:cubicBezTo>
                    <a:pt x="27676" y="0"/>
                    <a:pt x="34956" y="7281"/>
                    <a:pt x="34956" y="16261"/>
                  </a:cubicBezTo>
                  <a:cubicBezTo>
                    <a:pt x="34956" y="16262"/>
                    <a:pt x="34956" y="16262"/>
                    <a:pt x="34956" y="16262"/>
                  </a:cubicBezTo>
                  <a:lnTo>
                    <a:pt x="34956" y="193473"/>
                  </a:lnTo>
                  <a:cubicBezTo>
                    <a:pt x="34956" y="202454"/>
                    <a:pt x="27676" y="209734"/>
                    <a:pt x="18695" y="209734"/>
                  </a:cubicBezTo>
                  <a:lnTo>
                    <a:pt x="5120" y="209734"/>
                  </a:lnTo>
                  <a:cubicBezTo>
                    <a:pt x="2293" y="209734"/>
                    <a:pt x="0" y="207442"/>
                    <a:pt x="0" y="204615"/>
                  </a:cubicBezTo>
                  <a:lnTo>
                    <a:pt x="0" y="5120"/>
                  </a:lnTo>
                  <a:cubicBezTo>
                    <a:pt x="0" y="2293"/>
                    <a:pt x="2293" y="0"/>
                    <a:pt x="5120" y="0"/>
                  </a:cubicBezTo>
                  <a:close/>
                </a:path>
              </a:pathLst>
            </a:custGeom>
            <a:solidFill>
              <a:srgbClr val="7A7A7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29" name="Freihandform 372">
              <a:extLst>
                <a:ext uri="{FF2B5EF4-FFF2-40B4-BE49-F238E27FC236}">
                  <a16:creationId xmlns:a16="http://schemas.microsoft.com/office/drawing/2014/main" id="{7D5CC35B-F24D-6CFB-1E42-B8F3BD8BBA9B}"/>
                </a:ext>
              </a:extLst>
            </p:cNvPr>
            <p:cNvSpPr/>
            <p:nvPr/>
          </p:nvSpPr>
          <p:spPr>
            <a:xfrm flipH="1">
              <a:off x="2674820" y="2611597"/>
              <a:ext cx="891652" cy="378898"/>
            </a:xfrm>
            <a:custGeom>
              <a:avLst/>
              <a:gdLst>
                <a:gd name="connsiteX0" fmla="*/ 0 w 891652"/>
                <a:gd name="connsiteY0" fmla="*/ 91180 h 378898"/>
                <a:gd name="connsiteX1" fmla="*/ 229176 w 891652"/>
                <a:gd name="connsiteY1" fmla="*/ 4 h 378898"/>
                <a:gd name="connsiteX2" fmla="*/ 556439 w 891652"/>
                <a:gd name="connsiteY2" fmla="*/ 143397 h 378898"/>
                <a:gd name="connsiteX3" fmla="*/ 862039 w 891652"/>
                <a:gd name="connsiteY3" fmla="*/ 222263 h 378898"/>
                <a:gd name="connsiteX4" fmla="*/ 891653 w 891652"/>
                <a:gd name="connsiteY4" fmla="*/ 205019 h 378898"/>
                <a:gd name="connsiteX5" fmla="*/ 565364 w 891652"/>
                <a:gd name="connsiteY5" fmla="*/ 377293 h 378898"/>
                <a:gd name="connsiteX6" fmla="*/ 246251 w 891652"/>
                <a:gd name="connsiteY6" fmla="*/ 268569 h 378898"/>
                <a:gd name="connsiteX7" fmla="*/ 0 w 891652"/>
                <a:gd name="connsiteY7" fmla="*/ 232438 h 37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1652" h="378898">
                  <a:moveTo>
                    <a:pt x="0" y="91180"/>
                  </a:moveTo>
                  <a:cubicBezTo>
                    <a:pt x="0" y="91180"/>
                    <a:pt x="111048" y="-685"/>
                    <a:pt x="229176" y="4"/>
                  </a:cubicBezTo>
                  <a:cubicBezTo>
                    <a:pt x="396133" y="976"/>
                    <a:pt x="482858" y="92486"/>
                    <a:pt x="556439" y="143397"/>
                  </a:cubicBezTo>
                  <a:cubicBezTo>
                    <a:pt x="630029" y="194309"/>
                    <a:pt x="726870" y="273168"/>
                    <a:pt x="862039" y="222263"/>
                  </a:cubicBezTo>
                  <a:lnTo>
                    <a:pt x="891653" y="205019"/>
                  </a:lnTo>
                  <a:cubicBezTo>
                    <a:pt x="891653" y="205019"/>
                    <a:pt x="713764" y="364640"/>
                    <a:pt x="565364" y="377293"/>
                  </a:cubicBezTo>
                  <a:cubicBezTo>
                    <a:pt x="400067" y="391386"/>
                    <a:pt x="312285" y="309170"/>
                    <a:pt x="246251" y="268569"/>
                  </a:cubicBezTo>
                  <a:cubicBezTo>
                    <a:pt x="180218" y="227969"/>
                    <a:pt x="137467" y="221145"/>
                    <a:pt x="0" y="232438"/>
                  </a:cubicBezTo>
                  <a:close/>
                </a:path>
              </a:pathLst>
            </a:custGeom>
            <a:solidFill>
              <a:srgbClr val="007C3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0" name="Freihandform 373">
              <a:extLst>
                <a:ext uri="{FF2B5EF4-FFF2-40B4-BE49-F238E27FC236}">
                  <a16:creationId xmlns:a16="http://schemas.microsoft.com/office/drawing/2014/main" id="{16C16AD7-16D3-A557-9FF4-E494EDF5FDC8}"/>
                </a:ext>
              </a:extLst>
            </p:cNvPr>
            <p:cNvSpPr/>
            <p:nvPr/>
          </p:nvSpPr>
          <p:spPr>
            <a:xfrm flipH="1">
              <a:off x="2664247" y="2833774"/>
              <a:ext cx="902225" cy="298039"/>
            </a:xfrm>
            <a:custGeom>
              <a:avLst/>
              <a:gdLst>
                <a:gd name="connsiteX0" fmla="*/ 0 w 902225"/>
                <a:gd name="connsiteY0" fmla="*/ 38346 h 298039"/>
                <a:gd name="connsiteX1" fmla="*/ 162576 w 902225"/>
                <a:gd name="connsiteY1" fmla="*/ 38881 h 298039"/>
                <a:gd name="connsiteX2" fmla="*/ 343279 w 902225"/>
                <a:gd name="connsiteY2" fmla="*/ 141658 h 298039"/>
                <a:gd name="connsiteX3" fmla="*/ 685789 w 902225"/>
                <a:gd name="connsiteY3" fmla="*/ 151749 h 298039"/>
                <a:gd name="connsiteX4" fmla="*/ 902225 w 902225"/>
                <a:gd name="connsiteY4" fmla="*/ 0 h 298039"/>
                <a:gd name="connsiteX5" fmla="*/ 594396 w 902225"/>
                <a:gd name="connsiteY5" fmla="*/ 298039 h 298039"/>
                <a:gd name="connsiteX6" fmla="*/ 0 w 902225"/>
                <a:gd name="connsiteY6" fmla="*/ 298039 h 29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225" h="298039">
                  <a:moveTo>
                    <a:pt x="0" y="38346"/>
                  </a:moveTo>
                  <a:cubicBezTo>
                    <a:pt x="0" y="38346"/>
                    <a:pt x="110482" y="19036"/>
                    <a:pt x="162576" y="38881"/>
                  </a:cubicBezTo>
                  <a:cubicBezTo>
                    <a:pt x="214669" y="58725"/>
                    <a:pt x="282180" y="103608"/>
                    <a:pt x="343279" y="141658"/>
                  </a:cubicBezTo>
                  <a:cubicBezTo>
                    <a:pt x="420489" y="189732"/>
                    <a:pt x="568174" y="209955"/>
                    <a:pt x="685789" y="151749"/>
                  </a:cubicBezTo>
                  <a:cubicBezTo>
                    <a:pt x="788163" y="101094"/>
                    <a:pt x="876898" y="36936"/>
                    <a:pt x="902225" y="0"/>
                  </a:cubicBezTo>
                  <a:cubicBezTo>
                    <a:pt x="878660" y="86821"/>
                    <a:pt x="746768" y="271276"/>
                    <a:pt x="594396" y="298039"/>
                  </a:cubicBezTo>
                  <a:lnTo>
                    <a:pt x="0" y="298039"/>
                  </a:lnTo>
                  <a:close/>
                </a:path>
              </a:pathLst>
            </a:custGeom>
            <a:solidFill>
              <a:srgbClr val="007C39"/>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1" name="Freihandform 374">
              <a:extLst>
                <a:ext uri="{FF2B5EF4-FFF2-40B4-BE49-F238E27FC236}">
                  <a16:creationId xmlns:a16="http://schemas.microsoft.com/office/drawing/2014/main" id="{58312D0B-3181-ECB8-C772-84CA6D56795A}"/>
                </a:ext>
              </a:extLst>
            </p:cNvPr>
            <p:cNvSpPr/>
            <p:nvPr/>
          </p:nvSpPr>
          <p:spPr>
            <a:xfrm>
              <a:off x="686756" y="2763973"/>
              <a:ext cx="158877" cy="11810"/>
            </a:xfrm>
            <a:custGeom>
              <a:avLst/>
              <a:gdLst>
                <a:gd name="connsiteX0" fmla="*/ 0 w 158877"/>
                <a:gd name="connsiteY0" fmla="*/ 0 h 11810"/>
                <a:gd name="connsiteX1" fmla="*/ 158877 w 158877"/>
                <a:gd name="connsiteY1" fmla="*/ 0 h 11810"/>
                <a:gd name="connsiteX2" fmla="*/ 150190 w 158877"/>
                <a:gd name="connsiteY2" fmla="*/ 11811 h 11810"/>
                <a:gd name="connsiteX3" fmla="*/ 0 w 158877"/>
                <a:gd name="connsiteY3" fmla="*/ 11811 h 11810"/>
                <a:gd name="connsiteX4" fmla="*/ 0 w 158877"/>
                <a:gd name="connsiteY4" fmla="*/ 0 h 11810"/>
                <a:gd name="connsiteX5" fmla="*/ 0 w 158877"/>
                <a:gd name="connsiteY5" fmla="*/ 0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877" h="11810">
                  <a:moveTo>
                    <a:pt x="0" y="0"/>
                  </a:moveTo>
                  <a:lnTo>
                    <a:pt x="158877" y="0"/>
                  </a:lnTo>
                  <a:lnTo>
                    <a:pt x="150190" y="11811"/>
                  </a:lnTo>
                  <a:lnTo>
                    <a:pt x="0" y="11811"/>
                  </a:lnTo>
                  <a:lnTo>
                    <a:pt x="0" y="0"/>
                  </a:lnTo>
                  <a:lnTo>
                    <a:pt x="0"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2" name="Freihandform 375">
              <a:extLst>
                <a:ext uri="{FF2B5EF4-FFF2-40B4-BE49-F238E27FC236}">
                  <a16:creationId xmlns:a16="http://schemas.microsoft.com/office/drawing/2014/main" id="{5F496509-CE31-E045-CE7C-A1E2E25E02F9}"/>
                </a:ext>
              </a:extLst>
            </p:cNvPr>
            <p:cNvSpPr/>
            <p:nvPr/>
          </p:nvSpPr>
          <p:spPr>
            <a:xfrm>
              <a:off x="686756" y="2742056"/>
              <a:ext cx="175012" cy="11801"/>
            </a:xfrm>
            <a:custGeom>
              <a:avLst/>
              <a:gdLst>
                <a:gd name="connsiteX0" fmla="*/ 0 w 175012"/>
                <a:gd name="connsiteY0" fmla="*/ 0 h 11801"/>
                <a:gd name="connsiteX1" fmla="*/ 175012 w 175012"/>
                <a:gd name="connsiteY1" fmla="*/ 0 h 11801"/>
                <a:gd name="connsiteX2" fmla="*/ 166316 w 175012"/>
                <a:gd name="connsiteY2" fmla="*/ 11801 h 11801"/>
                <a:gd name="connsiteX3" fmla="*/ 0 w 175012"/>
                <a:gd name="connsiteY3" fmla="*/ 11801 h 11801"/>
                <a:gd name="connsiteX4" fmla="*/ 0 w 175012"/>
                <a:gd name="connsiteY4" fmla="*/ 0 h 11801"/>
                <a:gd name="connsiteX5" fmla="*/ 0 w 175012"/>
                <a:gd name="connsiteY5" fmla="*/ 0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12" h="11801">
                  <a:moveTo>
                    <a:pt x="0" y="0"/>
                  </a:moveTo>
                  <a:lnTo>
                    <a:pt x="175012" y="0"/>
                  </a:lnTo>
                  <a:lnTo>
                    <a:pt x="166316" y="11801"/>
                  </a:lnTo>
                  <a:lnTo>
                    <a:pt x="0" y="11801"/>
                  </a:lnTo>
                  <a:lnTo>
                    <a:pt x="0" y="0"/>
                  </a:lnTo>
                  <a:lnTo>
                    <a:pt x="0"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3" name="Freihandform 376">
              <a:extLst>
                <a:ext uri="{FF2B5EF4-FFF2-40B4-BE49-F238E27FC236}">
                  <a16:creationId xmlns:a16="http://schemas.microsoft.com/office/drawing/2014/main" id="{372D635B-F220-D6AA-1302-3DCB45AB3826}"/>
                </a:ext>
              </a:extLst>
            </p:cNvPr>
            <p:cNvSpPr/>
            <p:nvPr/>
          </p:nvSpPr>
          <p:spPr>
            <a:xfrm>
              <a:off x="686756" y="2785910"/>
              <a:ext cx="142741" cy="11715"/>
            </a:xfrm>
            <a:custGeom>
              <a:avLst/>
              <a:gdLst>
                <a:gd name="connsiteX0" fmla="*/ 0 w 142741"/>
                <a:gd name="connsiteY0" fmla="*/ 0 h 11715"/>
                <a:gd name="connsiteX1" fmla="*/ 142742 w 142741"/>
                <a:gd name="connsiteY1" fmla="*/ 0 h 11715"/>
                <a:gd name="connsiteX2" fmla="*/ 134102 w 142741"/>
                <a:gd name="connsiteY2" fmla="*/ 11716 h 11715"/>
                <a:gd name="connsiteX3" fmla="*/ 0 w 142741"/>
                <a:gd name="connsiteY3" fmla="*/ 11716 h 11715"/>
                <a:gd name="connsiteX4" fmla="*/ 0 w 142741"/>
                <a:gd name="connsiteY4" fmla="*/ 0 h 11715"/>
                <a:gd name="connsiteX5" fmla="*/ 0 w 142741"/>
                <a:gd name="connsiteY5" fmla="*/ 0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741" h="11715">
                  <a:moveTo>
                    <a:pt x="0" y="0"/>
                  </a:moveTo>
                  <a:lnTo>
                    <a:pt x="142742" y="0"/>
                  </a:lnTo>
                  <a:lnTo>
                    <a:pt x="134102" y="11716"/>
                  </a:lnTo>
                  <a:lnTo>
                    <a:pt x="0" y="11716"/>
                  </a:lnTo>
                  <a:lnTo>
                    <a:pt x="0" y="0"/>
                  </a:lnTo>
                  <a:lnTo>
                    <a:pt x="0"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4" name="Freihandform 377">
              <a:extLst>
                <a:ext uri="{FF2B5EF4-FFF2-40B4-BE49-F238E27FC236}">
                  <a16:creationId xmlns:a16="http://schemas.microsoft.com/office/drawing/2014/main" id="{F8411E65-2057-E24B-B324-33DF1E676672}"/>
                </a:ext>
              </a:extLst>
            </p:cNvPr>
            <p:cNvSpPr/>
            <p:nvPr/>
          </p:nvSpPr>
          <p:spPr>
            <a:xfrm>
              <a:off x="1703311" y="2763983"/>
              <a:ext cx="158248" cy="11801"/>
            </a:xfrm>
            <a:custGeom>
              <a:avLst/>
              <a:gdLst>
                <a:gd name="connsiteX0" fmla="*/ 158248 w 158248"/>
                <a:gd name="connsiteY0" fmla="*/ 11801 h 11801"/>
                <a:gd name="connsiteX1" fmla="*/ 0 w 158248"/>
                <a:gd name="connsiteY1" fmla="*/ 11801 h 11801"/>
                <a:gd name="connsiteX2" fmla="*/ 8668 w 158248"/>
                <a:gd name="connsiteY2" fmla="*/ 0 h 11801"/>
                <a:gd name="connsiteX3" fmla="*/ 158248 w 158248"/>
                <a:gd name="connsiteY3" fmla="*/ 0 h 11801"/>
                <a:gd name="connsiteX4" fmla="*/ 158248 w 158248"/>
                <a:gd name="connsiteY4" fmla="*/ 11801 h 11801"/>
                <a:gd name="connsiteX5" fmla="*/ 158248 w 158248"/>
                <a:gd name="connsiteY5" fmla="*/ 11801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8" h="11801">
                  <a:moveTo>
                    <a:pt x="158248" y="11801"/>
                  </a:moveTo>
                  <a:lnTo>
                    <a:pt x="0" y="11801"/>
                  </a:lnTo>
                  <a:lnTo>
                    <a:pt x="8668" y="0"/>
                  </a:lnTo>
                  <a:lnTo>
                    <a:pt x="158248" y="0"/>
                  </a:lnTo>
                  <a:lnTo>
                    <a:pt x="158248" y="11801"/>
                  </a:lnTo>
                  <a:lnTo>
                    <a:pt x="158248" y="11801"/>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5" name="Freihandform 378">
              <a:extLst>
                <a:ext uri="{FF2B5EF4-FFF2-40B4-BE49-F238E27FC236}">
                  <a16:creationId xmlns:a16="http://schemas.microsoft.com/office/drawing/2014/main" id="{F5891990-6DC5-9E84-7827-44DC8F5A444C}"/>
                </a:ext>
              </a:extLst>
            </p:cNvPr>
            <p:cNvSpPr/>
            <p:nvPr/>
          </p:nvSpPr>
          <p:spPr>
            <a:xfrm>
              <a:off x="1687214" y="2785910"/>
              <a:ext cx="174345" cy="11734"/>
            </a:xfrm>
            <a:custGeom>
              <a:avLst/>
              <a:gdLst>
                <a:gd name="connsiteX0" fmla="*/ 174346 w 174345"/>
                <a:gd name="connsiteY0" fmla="*/ 11716 h 11734"/>
                <a:gd name="connsiteX1" fmla="*/ 0 w 174345"/>
                <a:gd name="connsiteY1" fmla="*/ 11735 h 11734"/>
                <a:gd name="connsiteX2" fmla="*/ 8639 w 174345"/>
                <a:gd name="connsiteY2" fmla="*/ 0 h 11734"/>
                <a:gd name="connsiteX3" fmla="*/ 174346 w 174345"/>
                <a:gd name="connsiteY3" fmla="*/ 0 h 11734"/>
                <a:gd name="connsiteX4" fmla="*/ 174346 w 174345"/>
                <a:gd name="connsiteY4" fmla="*/ 11716 h 11734"/>
                <a:gd name="connsiteX5" fmla="*/ 174346 w 174345"/>
                <a:gd name="connsiteY5" fmla="*/ 11716 h 1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45" h="11734">
                  <a:moveTo>
                    <a:pt x="174346" y="11716"/>
                  </a:moveTo>
                  <a:lnTo>
                    <a:pt x="0" y="11735"/>
                  </a:lnTo>
                  <a:lnTo>
                    <a:pt x="8639" y="0"/>
                  </a:lnTo>
                  <a:lnTo>
                    <a:pt x="174346" y="0"/>
                  </a:lnTo>
                  <a:lnTo>
                    <a:pt x="174346" y="11716"/>
                  </a:lnTo>
                  <a:lnTo>
                    <a:pt x="174346" y="11716"/>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6" name="Freihandform 379">
              <a:extLst>
                <a:ext uri="{FF2B5EF4-FFF2-40B4-BE49-F238E27FC236}">
                  <a16:creationId xmlns:a16="http://schemas.microsoft.com/office/drawing/2014/main" id="{6C18D58C-CD1D-8AF0-FE71-890C5C1FA844}"/>
                </a:ext>
              </a:extLst>
            </p:cNvPr>
            <p:cNvSpPr/>
            <p:nvPr/>
          </p:nvSpPr>
          <p:spPr>
            <a:xfrm>
              <a:off x="1719428" y="2742056"/>
              <a:ext cx="142132" cy="11820"/>
            </a:xfrm>
            <a:custGeom>
              <a:avLst/>
              <a:gdLst>
                <a:gd name="connsiteX0" fmla="*/ 8677 w 142132"/>
                <a:gd name="connsiteY0" fmla="*/ 0 h 11820"/>
                <a:gd name="connsiteX1" fmla="*/ 142132 w 142132"/>
                <a:gd name="connsiteY1" fmla="*/ 0 h 11820"/>
                <a:gd name="connsiteX2" fmla="*/ 142132 w 142132"/>
                <a:gd name="connsiteY2" fmla="*/ 11801 h 11820"/>
                <a:gd name="connsiteX3" fmla="*/ 0 w 142132"/>
                <a:gd name="connsiteY3" fmla="*/ 11821 h 11820"/>
                <a:gd name="connsiteX4" fmla="*/ 8677 w 142132"/>
                <a:gd name="connsiteY4" fmla="*/ 0 h 11820"/>
                <a:gd name="connsiteX5" fmla="*/ 8677 w 142132"/>
                <a:gd name="connsiteY5" fmla="*/ 0 h 11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32" h="11820">
                  <a:moveTo>
                    <a:pt x="8677" y="0"/>
                  </a:moveTo>
                  <a:lnTo>
                    <a:pt x="142132" y="0"/>
                  </a:lnTo>
                  <a:lnTo>
                    <a:pt x="142132" y="11801"/>
                  </a:lnTo>
                  <a:lnTo>
                    <a:pt x="0" y="11821"/>
                  </a:lnTo>
                  <a:lnTo>
                    <a:pt x="8677" y="0"/>
                  </a:lnTo>
                  <a:lnTo>
                    <a:pt x="8677"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7" name="Freihandform 380">
              <a:extLst>
                <a:ext uri="{FF2B5EF4-FFF2-40B4-BE49-F238E27FC236}">
                  <a16:creationId xmlns:a16="http://schemas.microsoft.com/office/drawing/2014/main" id="{2BF6C9C2-840C-A677-A9AD-4DBD635EBA75}"/>
                </a:ext>
              </a:extLst>
            </p:cNvPr>
            <p:cNvSpPr/>
            <p:nvPr/>
          </p:nvSpPr>
          <p:spPr>
            <a:xfrm>
              <a:off x="840632" y="2695202"/>
              <a:ext cx="288788" cy="102428"/>
            </a:xfrm>
            <a:custGeom>
              <a:avLst/>
              <a:gdLst>
                <a:gd name="connsiteX0" fmla="*/ 0 w 288788"/>
                <a:gd name="connsiteY0" fmla="*/ 102429 h 102428"/>
                <a:gd name="connsiteX1" fmla="*/ 75390 w 288788"/>
                <a:gd name="connsiteY1" fmla="*/ 0 h 102428"/>
                <a:gd name="connsiteX2" fmla="*/ 168945 w 288788"/>
                <a:gd name="connsiteY2" fmla="*/ 0 h 102428"/>
                <a:gd name="connsiteX3" fmla="*/ 174098 w 288788"/>
                <a:gd name="connsiteY3" fmla="*/ 10775 h 102428"/>
                <a:gd name="connsiteX4" fmla="*/ 155010 w 288788"/>
                <a:gd name="connsiteY4" fmla="*/ 36742 h 102428"/>
                <a:gd name="connsiteX5" fmla="*/ 163449 w 288788"/>
                <a:gd name="connsiteY5" fmla="*/ 46860 h 102428"/>
                <a:gd name="connsiteX6" fmla="*/ 288788 w 288788"/>
                <a:gd name="connsiteY6" fmla="*/ 46860 h 102428"/>
                <a:gd name="connsiteX7" fmla="*/ 183842 w 288788"/>
                <a:gd name="connsiteY7" fmla="*/ 102429 h 10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788" h="102428">
                  <a:moveTo>
                    <a:pt x="0" y="102429"/>
                  </a:moveTo>
                  <a:lnTo>
                    <a:pt x="75390" y="0"/>
                  </a:lnTo>
                  <a:lnTo>
                    <a:pt x="168945" y="0"/>
                  </a:lnTo>
                  <a:cubicBezTo>
                    <a:pt x="179289" y="0"/>
                    <a:pt x="179156" y="3926"/>
                    <a:pt x="174098" y="10775"/>
                  </a:cubicBezTo>
                  <a:cubicBezTo>
                    <a:pt x="168974" y="17728"/>
                    <a:pt x="160239" y="29684"/>
                    <a:pt x="155010" y="36742"/>
                  </a:cubicBezTo>
                  <a:cubicBezTo>
                    <a:pt x="152352" y="40328"/>
                    <a:pt x="147561" y="46860"/>
                    <a:pt x="163449" y="46860"/>
                  </a:cubicBezTo>
                  <a:lnTo>
                    <a:pt x="288788" y="46860"/>
                  </a:lnTo>
                  <a:cubicBezTo>
                    <a:pt x="264786" y="81188"/>
                    <a:pt x="225723" y="101869"/>
                    <a:pt x="183842" y="102429"/>
                  </a:cubicBez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8" name="Freihandform 381">
              <a:extLst>
                <a:ext uri="{FF2B5EF4-FFF2-40B4-BE49-F238E27FC236}">
                  <a16:creationId xmlns:a16="http://schemas.microsoft.com/office/drawing/2014/main" id="{698B6D99-22F7-8C3E-41B8-21E04BD2CA24}"/>
                </a:ext>
              </a:extLst>
            </p:cNvPr>
            <p:cNvSpPr/>
            <p:nvPr/>
          </p:nvSpPr>
          <p:spPr>
            <a:xfrm>
              <a:off x="1123667" y="2742054"/>
              <a:ext cx="148723" cy="55577"/>
            </a:xfrm>
            <a:custGeom>
              <a:avLst/>
              <a:gdLst>
                <a:gd name="connsiteX0" fmla="*/ 148723 w 148723"/>
                <a:gd name="connsiteY0" fmla="*/ 0 h 55577"/>
                <a:gd name="connsiteX1" fmla="*/ 107852 w 148723"/>
                <a:gd name="connsiteY1" fmla="*/ 55577 h 55577"/>
                <a:gd name="connsiteX2" fmla="*/ 0 w 148723"/>
                <a:gd name="connsiteY2" fmla="*/ 55577 h 55577"/>
                <a:gd name="connsiteX3" fmla="*/ 40900 w 148723"/>
                <a:gd name="connsiteY3" fmla="*/ 9 h 55577"/>
              </a:gdLst>
              <a:ahLst/>
              <a:cxnLst>
                <a:cxn ang="0">
                  <a:pos x="connsiteX0" y="connsiteY0"/>
                </a:cxn>
                <a:cxn ang="0">
                  <a:pos x="connsiteX1" y="connsiteY1"/>
                </a:cxn>
                <a:cxn ang="0">
                  <a:pos x="connsiteX2" y="connsiteY2"/>
                </a:cxn>
                <a:cxn ang="0">
                  <a:pos x="connsiteX3" y="connsiteY3"/>
                </a:cxn>
              </a:cxnLst>
              <a:rect l="l" t="t" r="r" b="b"/>
              <a:pathLst>
                <a:path w="148723" h="55577">
                  <a:moveTo>
                    <a:pt x="148723" y="0"/>
                  </a:moveTo>
                  <a:lnTo>
                    <a:pt x="107852" y="55577"/>
                  </a:lnTo>
                  <a:lnTo>
                    <a:pt x="0" y="55577"/>
                  </a:lnTo>
                  <a:lnTo>
                    <a:pt x="40900" y="9"/>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39" name="Freihandform 382">
              <a:extLst>
                <a:ext uri="{FF2B5EF4-FFF2-40B4-BE49-F238E27FC236}">
                  <a16:creationId xmlns:a16="http://schemas.microsoft.com/office/drawing/2014/main" id="{700979CD-37E2-459C-0D93-03900FE281F7}"/>
                </a:ext>
              </a:extLst>
            </p:cNvPr>
            <p:cNvSpPr/>
            <p:nvPr/>
          </p:nvSpPr>
          <p:spPr>
            <a:xfrm>
              <a:off x="1279639" y="2742062"/>
              <a:ext cx="148704" cy="55568"/>
            </a:xfrm>
            <a:custGeom>
              <a:avLst/>
              <a:gdLst>
                <a:gd name="connsiteX0" fmla="*/ 148704 w 148704"/>
                <a:gd name="connsiteY0" fmla="*/ 0 h 55568"/>
                <a:gd name="connsiteX1" fmla="*/ 107804 w 148704"/>
                <a:gd name="connsiteY1" fmla="*/ 55569 h 55568"/>
                <a:gd name="connsiteX2" fmla="*/ 0 w 148704"/>
                <a:gd name="connsiteY2" fmla="*/ 55569 h 55568"/>
                <a:gd name="connsiteX3" fmla="*/ 40900 w 148704"/>
                <a:gd name="connsiteY3" fmla="*/ 0 h 55568"/>
              </a:gdLst>
              <a:ahLst/>
              <a:cxnLst>
                <a:cxn ang="0">
                  <a:pos x="connsiteX0" y="connsiteY0"/>
                </a:cxn>
                <a:cxn ang="0">
                  <a:pos x="connsiteX1" y="connsiteY1"/>
                </a:cxn>
                <a:cxn ang="0">
                  <a:pos x="connsiteX2" y="connsiteY2"/>
                </a:cxn>
                <a:cxn ang="0">
                  <a:pos x="connsiteX3" y="connsiteY3"/>
                </a:cxn>
              </a:cxnLst>
              <a:rect l="l" t="t" r="r" b="b"/>
              <a:pathLst>
                <a:path w="148704" h="55568">
                  <a:moveTo>
                    <a:pt x="148704" y="0"/>
                  </a:moveTo>
                  <a:lnTo>
                    <a:pt x="107804" y="55569"/>
                  </a:lnTo>
                  <a:lnTo>
                    <a:pt x="0" y="55569"/>
                  </a:lnTo>
                  <a:lnTo>
                    <a:pt x="40900"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40" name="Freihandform 383">
              <a:extLst>
                <a:ext uri="{FF2B5EF4-FFF2-40B4-BE49-F238E27FC236}">
                  <a16:creationId xmlns:a16="http://schemas.microsoft.com/office/drawing/2014/main" id="{2B38B38F-15E9-A39B-93FA-C1E252A9F060}"/>
                </a:ext>
              </a:extLst>
            </p:cNvPr>
            <p:cNvSpPr/>
            <p:nvPr/>
          </p:nvSpPr>
          <p:spPr>
            <a:xfrm>
              <a:off x="1446436" y="2742060"/>
              <a:ext cx="261923" cy="55568"/>
            </a:xfrm>
            <a:custGeom>
              <a:avLst/>
              <a:gdLst>
                <a:gd name="connsiteX0" fmla="*/ 16979 w 261923"/>
                <a:gd name="connsiteY0" fmla="*/ 2 h 55568"/>
                <a:gd name="connsiteX1" fmla="*/ 5273 w 261923"/>
                <a:gd name="connsiteY1" fmla="*/ 15946 h 55568"/>
                <a:gd name="connsiteX2" fmla="*/ 47897 w 261923"/>
                <a:gd name="connsiteY2" fmla="*/ 55569 h 55568"/>
                <a:gd name="connsiteX3" fmla="*/ 221033 w 261923"/>
                <a:gd name="connsiteY3" fmla="*/ 55569 h 55568"/>
                <a:gd name="connsiteX4" fmla="*/ 261924 w 261923"/>
                <a:gd name="connsiteY4" fmla="*/ 0 h 55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23" h="55568">
                  <a:moveTo>
                    <a:pt x="16979" y="2"/>
                  </a:moveTo>
                  <a:cubicBezTo>
                    <a:pt x="16979" y="2"/>
                    <a:pt x="9102" y="10776"/>
                    <a:pt x="5273" y="15946"/>
                  </a:cubicBezTo>
                  <a:cubicBezTo>
                    <a:pt x="-8272" y="34248"/>
                    <a:pt x="3701" y="55569"/>
                    <a:pt x="47897" y="55569"/>
                  </a:cubicBezTo>
                  <a:lnTo>
                    <a:pt x="221033" y="55569"/>
                  </a:lnTo>
                  <a:lnTo>
                    <a:pt x="261924"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41" name="Freihandform 384">
              <a:extLst>
                <a:ext uri="{FF2B5EF4-FFF2-40B4-BE49-F238E27FC236}">
                  <a16:creationId xmlns:a16="http://schemas.microsoft.com/office/drawing/2014/main" id="{6D49DE28-7191-186F-EB42-6B6A793BE069}"/>
                </a:ext>
              </a:extLst>
            </p:cNvPr>
            <p:cNvSpPr/>
            <p:nvPr/>
          </p:nvSpPr>
          <p:spPr>
            <a:xfrm>
              <a:off x="855824" y="2631506"/>
              <a:ext cx="313483" cy="97976"/>
            </a:xfrm>
            <a:custGeom>
              <a:avLst/>
              <a:gdLst>
                <a:gd name="connsiteX0" fmla="*/ 37529 w 313483"/>
                <a:gd name="connsiteY0" fmla="*/ 0 h 97976"/>
                <a:gd name="connsiteX1" fmla="*/ 0 w 313483"/>
                <a:gd name="connsiteY1" fmla="*/ 50996 h 97976"/>
                <a:gd name="connsiteX2" fmla="*/ 204559 w 313483"/>
                <a:gd name="connsiteY2" fmla="*/ 50996 h 97976"/>
                <a:gd name="connsiteX3" fmla="*/ 209712 w 313483"/>
                <a:gd name="connsiteY3" fmla="*/ 61770 h 97976"/>
                <a:gd name="connsiteX4" fmla="*/ 190767 w 313483"/>
                <a:gd name="connsiteY4" fmla="*/ 87866 h 97976"/>
                <a:gd name="connsiteX5" fmla="*/ 199206 w 313483"/>
                <a:gd name="connsiteY5" fmla="*/ 97976 h 97976"/>
                <a:gd name="connsiteX6" fmla="*/ 282864 w 313483"/>
                <a:gd name="connsiteY6" fmla="*/ 97976 h 97976"/>
                <a:gd name="connsiteX7" fmla="*/ 307648 w 313483"/>
                <a:gd name="connsiteY7" fmla="*/ 64287 h 97976"/>
                <a:gd name="connsiteX8" fmla="*/ 254013 w 313483"/>
                <a:gd name="connsiteY8" fmla="*/ 0 h 9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483" h="97976">
                  <a:moveTo>
                    <a:pt x="37529" y="0"/>
                  </a:moveTo>
                  <a:lnTo>
                    <a:pt x="0" y="50996"/>
                  </a:lnTo>
                  <a:lnTo>
                    <a:pt x="204559" y="50996"/>
                  </a:lnTo>
                  <a:cubicBezTo>
                    <a:pt x="214903" y="50996"/>
                    <a:pt x="214770" y="54922"/>
                    <a:pt x="209712" y="61770"/>
                  </a:cubicBezTo>
                  <a:cubicBezTo>
                    <a:pt x="204578" y="68715"/>
                    <a:pt x="195987" y="80808"/>
                    <a:pt x="190767" y="87866"/>
                  </a:cubicBezTo>
                  <a:cubicBezTo>
                    <a:pt x="188109" y="91445"/>
                    <a:pt x="183309" y="97976"/>
                    <a:pt x="199206" y="97976"/>
                  </a:cubicBezTo>
                  <a:lnTo>
                    <a:pt x="282864" y="97976"/>
                  </a:lnTo>
                  <a:cubicBezTo>
                    <a:pt x="282864" y="97976"/>
                    <a:pt x="296351" y="79626"/>
                    <a:pt x="307648" y="64287"/>
                  </a:cubicBezTo>
                  <a:cubicBezTo>
                    <a:pt x="323021" y="43420"/>
                    <a:pt x="308981" y="0"/>
                    <a:pt x="254013" y="0"/>
                  </a:cubicBez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42" name="Freihandform 385">
              <a:extLst>
                <a:ext uri="{FF2B5EF4-FFF2-40B4-BE49-F238E27FC236}">
                  <a16:creationId xmlns:a16="http://schemas.microsoft.com/office/drawing/2014/main" id="{45770E16-EDF1-AF94-C5D0-2B231ABD0FDB}"/>
                </a:ext>
              </a:extLst>
            </p:cNvPr>
            <p:cNvSpPr/>
            <p:nvPr/>
          </p:nvSpPr>
          <p:spPr>
            <a:xfrm>
              <a:off x="1173836" y="2631509"/>
              <a:ext cx="335879" cy="97974"/>
            </a:xfrm>
            <a:custGeom>
              <a:avLst/>
              <a:gdLst>
                <a:gd name="connsiteX0" fmla="*/ 263766 w 335879"/>
                <a:gd name="connsiteY0" fmla="*/ 97974 h 97974"/>
                <a:gd name="connsiteX1" fmla="*/ 0 w 335879"/>
                <a:gd name="connsiteY1" fmla="*/ 97974 h 97974"/>
                <a:gd name="connsiteX2" fmla="*/ 72123 w 335879"/>
                <a:gd name="connsiteY2" fmla="*/ 0 h 97974"/>
                <a:gd name="connsiteX3" fmla="*/ 179937 w 335879"/>
                <a:gd name="connsiteY3" fmla="*/ 0 h 97974"/>
                <a:gd name="connsiteX4" fmla="*/ 138598 w 335879"/>
                <a:gd name="connsiteY4" fmla="*/ 56178 h 97974"/>
                <a:gd name="connsiteX5" fmla="*/ 186719 w 335879"/>
                <a:gd name="connsiteY5" fmla="*/ 56178 h 97974"/>
                <a:gd name="connsiteX6" fmla="*/ 228086 w 335879"/>
                <a:gd name="connsiteY6" fmla="*/ 0 h 97974"/>
                <a:gd name="connsiteX7" fmla="*/ 335880 w 335879"/>
                <a:gd name="connsiteY7" fmla="*/ 0 h 97974"/>
                <a:gd name="connsiteX8" fmla="*/ 263766 w 335879"/>
                <a:gd name="connsiteY8" fmla="*/ 97974 h 97974"/>
                <a:gd name="connsiteX9" fmla="*/ 263766 w 335879"/>
                <a:gd name="connsiteY9" fmla="*/ 97974 h 9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879" h="97974">
                  <a:moveTo>
                    <a:pt x="263766" y="97974"/>
                  </a:moveTo>
                  <a:lnTo>
                    <a:pt x="0" y="97974"/>
                  </a:lnTo>
                  <a:lnTo>
                    <a:pt x="72123" y="0"/>
                  </a:lnTo>
                  <a:lnTo>
                    <a:pt x="179937" y="0"/>
                  </a:lnTo>
                  <a:lnTo>
                    <a:pt x="138598" y="56178"/>
                  </a:lnTo>
                  <a:lnTo>
                    <a:pt x="186719" y="56178"/>
                  </a:lnTo>
                  <a:lnTo>
                    <a:pt x="228086" y="0"/>
                  </a:lnTo>
                  <a:lnTo>
                    <a:pt x="335880" y="0"/>
                  </a:lnTo>
                  <a:lnTo>
                    <a:pt x="263766" y="97974"/>
                  </a:lnTo>
                  <a:lnTo>
                    <a:pt x="263766" y="97974"/>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43" name="Freihandform 386">
              <a:extLst>
                <a:ext uri="{FF2B5EF4-FFF2-40B4-BE49-F238E27FC236}">
                  <a16:creationId xmlns:a16="http://schemas.microsoft.com/office/drawing/2014/main" id="{95E72BAC-E0FA-7E7D-9CD4-1A648BC70E2F}"/>
                </a:ext>
              </a:extLst>
            </p:cNvPr>
            <p:cNvSpPr/>
            <p:nvPr/>
          </p:nvSpPr>
          <p:spPr>
            <a:xfrm>
              <a:off x="1472664" y="2631506"/>
              <a:ext cx="186356" cy="97976"/>
            </a:xfrm>
            <a:custGeom>
              <a:avLst/>
              <a:gdLst>
                <a:gd name="connsiteX0" fmla="*/ 186357 w 186356"/>
                <a:gd name="connsiteY0" fmla="*/ 0 h 97976"/>
                <a:gd name="connsiteX1" fmla="*/ 114243 w 186356"/>
                <a:gd name="connsiteY1" fmla="*/ 97976 h 97976"/>
                <a:gd name="connsiteX2" fmla="*/ 0 w 186356"/>
                <a:gd name="connsiteY2" fmla="*/ 97976 h 97976"/>
                <a:gd name="connsiteX3" fmla="*/ 72171 w 186356"/>
                <a:gd name="connsiteY3" fmla="*/ 0 h 97976"/>
              </a:gdLst>
              <a:ahLst/>
              <a:cxnLst>
                <a:cxn ang="0">
                  <a:pos x="connsiteX0" y="connsiteY0"/>
                </a:cxn>
                <a:cxn ang="0">
                  <a:pos x="connsiteX1" y="connsiteY1"/>
                </a:cxn>
                <a:cxn ang="0">
                  <a:pos x="connsiteX2" y="connsiteY2"/>
                </a:cxn>
                <a:cxn ang="0">
                  <a:pos x="connsiteX3" y="connsiteY3"/>
                </a:cxn>
              </a:cxnLst>
              <a:rect l="l" t="t" r="r" b="b"/>
              <a:pathLst>
                <a:path w="186356" h="97976">
                  <a:moveTo>
                    <a:pt x="186357" y="0"/>
                  </a:moveTo>
                  <a:lnTo>
                    <a:pt x="114243" y="97976"/>
                  </a:lnTo>
                  <a:lnTo>
                    <a:pt x="0" y="97976"/>
                  </a:lnTo>
                  <a:lnTo>
                    <a:pt x="72171" y="0"/>
                  </a:lnTo>
                  <a:close/>
                </a:path>
              </a:pathLst>
            </a:custGeom>
            <a:solidFill>
              <a:srgbClr val="D4051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grpSp>
      <p:sp>
        <p:nvSpPr>
          <p:cNvPr id="145" name="Textfeld 144">
            <a:extLst>
              <a:ext uri="{FF2B5EF4-FFF2-40B4-BE49-F238E27FC236}">
                <a16:creationId xmlns:a16="http://schemas.microsoft.com/office/drawing/2014/main" id="{364903F2-CD24-5D59-B1E5-B62CAE18C2CD}"/>
              </a:ext>
            </a:extLst>
          </p:cNvPr>
          <p:cNvSpPr txBox="1"/>
          <p:nvPr/>
        </p:nvSpPr>
        <p:spPr>
          <a:xfrm>
            <a:off x="1416256" y="3239935"/>
            <a:ext cx="1834384" cy="339324"/>
          </a:xfrm>
          <a:prstGeom prst="rect">
            <a:avLst/>
          </a:prstGeom>
          <a:noFill/>
        </p:spPr>
        <p:txBody>
          <a:bodyPr wrap="square" lIns="0" tIns="0" rIns="0" bIns="0" rtlCol="0">
            <a:spAutoFit/>
          </a:bodyPr>
          <a:lstStyle/>
          <a:p>
            <a:pPr marL="0" marR="0" lvl="0" indent="0" algn="l" defTabSz="685800" rtl="0" eaLnBrk="1" fontAlgn="auto" latinLnBrk="0" hangingPunct="1">
              <a:lnSpc>
                <a:spcPct val="105000"/>
              </a:lnSpc>
              <a:spcBef>
                <a:spcPts val="0"/>
              </a:spcBef>
              <a:spcAft>
                <a:spcPts val="500"/>
              </a:spcAft>
              <a:buClrTx/>
              <a:buSzTx/>
              <a:buFontTx/>
              <a:buNone/>
              <a:tabLst/>
              <a:defRPr/>
            </a:pPr>
            <a:r>
              <a:rPr lang="de-DE" sz="1200" b="1">
                <a:solidFill>
                  <a:prstClr val="black"/>
                </a:solidFill>
                <a:latin typeface="Delivery Cd Black" panose="020F0503020204020204" pitchFamily="34" charset="0"/>
                <a:ea typeface="Delivery Cd Black" panose="020F0503020204020204" pitchFamily="34" charset="0"/>
                <a:cs typeface="Delivery Cd Black" panose="020F0503020204020204" pitchFamily="34" charset="0"/>
              </a:rPr>
              <a:t>E-Fahrzeuge</a:t>
            </a:r>
            <a:br>
              <a:rPr kumimoji="0" lang="de-DE" sz="1400" b="1"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br>
            <a:r>
              <a:rPr lang="de-DE" sz="900">
                <a:solidFill>
                  <a:prstClr val="black"/>
                </a:solidFill>
                <a:latin typeface="Delivery" panose="020F0503020204020204" pitchFamily="34" charset="0"/>
                <a:ea typeface="Delivery" panose="020F0503020204020204" pitchFamily="34" charset="0"/>
                <a:cs typeface="Delivery" panose="020F0503020204020204" pitchFamily="34" charset="0"/>
              </a:rPr>
              <a:t>in der Abholung &amp; Zustellung</a:t>
            </a:r>
          </a:p>
        </p:txBody>
      </p:sp>
      <p:sp>
        <p:nvSpPr>
          <p:cNvPr id="146" name="Textfeld 145">
            <a:extLst>
              <a:ext uri="{FF2B5EF4-FFF2-40B4-BE49-F238E27FC236}">
                <a16:creationId xmlns:a16="http://schemas.microsoft.com/office/drawing/2014/main" id="{D7F9B662-18E2-4DF1-2ABA-23F0339DBC78}"/>
              </a:ext>
            </a:extLst>
          </p:cNvPr>
          <p:cNvSpPr txBox="1"/>
          <p:nvPr/>
        </p:nvSpPr>
        <p:spPr>
          <a:xfrm flipH="1">
            <a:off x="1408585" y="2028113"/>
            <a:ext cx="2345087" cy="336439"/>
          </a:xfrm>
          <a:prstGeom prst="rect">
            <a:avLst/>
          </a:prstGeom>
          <a:noFill/>
        </p:spPr>
        <p:txBody>
          <a:bodyPr wrap="square" lIns="0" tIns="0" rIns="0" bIns="0" rtlCol="0">
            <a:spAutoFit/>
          </a:bodyPr>
          <a:lstStyle/>
          <a:p>
            <a:pPr marL="0" marR="0" lvl="0" indent="0" algn="l" defTabSz="685800" rtl="0" eaLnBrk="1" fontAlgn="auto" latinLnBrk="0" hangingPunct="1">
              <a:lnSpc>
                <a:spcPct val="105000"/>
              </a:lnSpc>
              <a:spcBef>
                <a:spcPts val="0"/>
              </a:spcBef>
              <a:spcAft>
                <a:spcPts val="500"/>
              </a:spcAft>
              <a:buClrTx/>
              <a:buSzTx/>
              <a:buFontTx/>
              <a:buNone/>
              <a:tabLst/>
              <a:defRPr/>
            </a:pPr>
            <a:r>
              <a:rPr kumimoji="0" lang="de-DE" sz="1200" b="1" i="0" u="none" strike="noStrike" kern="1200" cap="none" spc="0" normalizeH="0" baseline="0" noProof="0">
                <a:ln>
                  <a:noFill/>
                </a:ln>
                <a:effectLst/>
                <a:uLnTx/>
                <a:uFillTx/>
                <a:latin typeface="Delivery Cd Black" panose="020F0503020204020204" pitchFamily="34" charset="0"/>
                <a:ea typeface="Delivery Cd Black" panose="020F0503020204020204" pitchFamily="34" charset="0"/>
                <a:cs typeface="Delivery Cd Black" panose="020F0503020204020204" pitchFamily="34" charset="0"/>
              </a:rPr>
              <a:t>Anteil</a:t>
            </a:r>
            <a:r>
              <a:rPr kumimoji="0" lang="de-DE" sz="1200" b="1" i="0" u="none" strike="noStrike" kern="1200" cap="none" spc="0" normalizeH="0" noProof="0">
                <a:ln>
                  <a:noFill/>
                </a:ln>
                <a:effectLst/>
                <a:uLnTx/>
                <a:uFillTx/>
                <a:latin typeface="Delivery Cd Black" panose="020F0503020204020204" pitchFamily="34" charset="0"/>
                <a:ea typeface="Delivery Cd Black" panose="020F0503020204020204" pitchFamily="34" charset="0"/>
                <a:cs typeface="Delivery Cd Black" panose="020F0503020204020204" pitchFamily="34" charset="0"/>
              </a:rPr>
              <a:t> n</a:t>
            </a:r>
            <a:r>
              <a:rPr kumimoji="0" lang="de-DE" sz="1200" b="1" i="0" u="none" strike="noStrike" kern="1200" cap="none" spc="0" normalizeH="0" baseline="0" noProof="0">
                <a:ln>
                  <a:noFill/>
                </a:ln>
                <a:effectLst/>
                <a:uLnTx/>
                <a:uFillTx/>
                <a:latin typeface="Delivery Cd Black" panose="020F0503020204020204" pitchFamily="34" charset="0"/>
                <a:ea typeface="Delivery Cd Black" panose="020F0503020204020204" pitchFamily="34" charset="0"/>
                <a:cs typeface="Delivery Cd Black" panose="020F0503020204020204" pitchFamily="34" charset="0"/>
              </a:rPr>
              <a:t>achhaltiger Kraftstoffe </a:t>
            </a:r>
            <a:br>
              <a:rPr kumimoji="0" lang="de-DE" sz="1200" b="1" i="0" u="none" strike="noStrike" kern="1200" cap="none" spc="0" normalizeH="0" baseline="0" noProof="0">
                <a:ln>
                  <a:noFill/>
                </a:ln>
                <a:effectLst/>
                <a:uLnTx/>
                <a:uFillTx/>
                <a:latin typeface="Delivery Cd Black" panose="020F0503020204020204" pitchFamily="34" charset="0"/>
                <a:ea typeface="Delivery Cd Black" panose="020F0503020204020204" pitchFamily="34" charset="0"/>
                <a:cs typeface="Delivery Cd Black" panose="020F0503020204020204" pitchFamily="34" charset="0"/>
              </a:rPr>
            </a:br>
            <a:r>
              <a:rPr lang="de-DE" sz="900">
                <a:latin typeface="Delivery" panose="020F0503020204020204" pitchFamily="34" charset="0"/>
                <a:ea typeface="Delivery" panose="020F0503020204020204" pitchFamily="34" charset="0"/>
                <a:cs typeface="Delivery" panose="020F0503020204020204" pitchFamily="34" charset="0"/>
              </a:rPr>
              <a:t>in der Luft- und Seefracht, Straßentransport</a:t>
            </a:r>
          </a:p>
        </p:txBody>
      </p:sp>
      <p:sp>
        <p:nvSpPr>
          <p:cNvPr id="147" name="Rechteck 146">
            <a:extLst>
              <a:ext uri="{FF2B5EF4-FFF2-40B4-BE49-F238E27FC236}">
                <a16:creationId xmlns:a16="http://schemas.microsoft.com/office/drawing/2014/main" id="{54FEE5B0-3AD1-59A8-7C46-08533F3A5EB4}"/>
              </a:ext>
            </a:extLst>
          </p:cNvPr>
          <p:cNvSpPr/>
          <p:nvPr/>
        </p:nvSpPr>
        <p:spPr>
          <a:xfrm>
            <a:off x="4822324" y="2163472"/>
            <a:ext cx="1381812" cy="282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lt; 29 </a:t>
            </a:r>
            <a:r>
              <a:rPr kumimoji="0" lang="de-DE" sz="1000" b="0" i="0" u="none" strike="noStrike" kern="1200" cap="none" spc="0" normalizeH="0" baseline="0" noProof="0">
                <a:ln>
                  <a:noFill/>
                </a:ln>
                <a:solidFill>
                  <a:srgbClr val="007C39"/>
                </a:solidFill>
                <a:effectLst/>
                <a:uLnTx/>
                <a:uFillTx/>
                <a:latin typeface="Delivery" panose="020F0503020204020204" pitchFamily="34" charset="0"/>
                <a:ea typeface="Delivery" panose="020F0503020204020204" pitchFamily="34" charset="0"/>
                <a:cs typeface="Delivery" panose="020F0503020204020204" pitchFamily="34" charset="0"/>
              </a:rPr>
              <a:t>Mio. t CO</a:t>
            </a:r>
            <a:r>
              <a:rPr kumimoji="0" lang="de-DE" sz="1000" b="0" i="0" u="none" strike="noStrike" kern="1200" cap="none" spc="0" normalizeH="0" baseline="-25000" noProof="0">
                <a:ln>
                  <a:noFill/>
                </a:ln>
                <a:solidFill>
                  <a:srgbClr val="007C39"/>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de-DE" sz="1000" b="0" i="0" u="none" strike="noStrike" kern="1200" cap="none" spc="0" normalizeH="0" baseline="0" noProof="0">
                <a:ln>
                  <a:noFill/>
                </a:ln>
                <a:solidFill>
                  <a:srgbClr val="007C39"/>
                </a:solidFill>
                <a:effectLst/>
                <a:uLnTx/>
                <a:uFillTx/>
                <a:latin typeface="Delivery" panose="020F0503020204020204" pitchFamily="34" charset="0"/>
                <a:ea typeface="Delivery" panose="020F0503020204020204" pitchFamily="34" charset="0"/>
                <a:cs typeface="Delivery" panose="020F0503020204020204" pitchFamily="34" charset="0"/>
              </a:rPr>
              <a:t>e </a:t>
            </a:r>
            <a:endParaRPr kumimoji="0" lang="de-DE" sz="2000" b="1" i="0" u="none" strike="noStrike" kern="1200" cap="none" spc="0" normalizeH="0" baseline="0" noProof="0">
              <a:ln>
                <a:noFill/>
              </a:ln>
              <a:solidFill>
                <a:srgbClr val="007C39"/>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endParaRPr>
          </a:p>
        </p:txBody>
      </p:sp>
      <p:sp>
        <p:nvSpPr>
          <p:cNvPr id="148" name="Rechteck 147">
            <a:extLst>
              <a:ext uri="{FF2B5EF4-FFF2-40B4-BE49-F238E27FC236}">
                <a16:creationId xmlns:a16="http://schemas.microsoft.com/office/drawing/2014/main" id="{CCB1D569-4B9E-7246-E7D0-32AAF8714C3E}"/>
              </a:ext>
            </a:extLst>
          </p:cNvPr>
          <p:cNvSpPr/>
          <p:nvPr/>
        </p:nvSpPr>
        <p:spPr>
          <a:xfrm>
            <a:off x="4905453" y="1096194"/>
            <a:ext cx="1503612" cy="308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1200" b="1" i="0" u="none" strike="noStrike" kern="1200" cap="none" spc="0" normalizeH="0" baseline="0" noProof="0">
                <a:ln>
                  <a:noFill/>
                </a:ln>
                <a:solidFill>
                  <a:srgbClr val="8C8C8C"/>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Ohne</a:t>
            </a:r>
            <a:br>
              <a:rPr kumimoji="0" lang="de-DE" sz="1800" b="1" i="0" u="none" strike="noStrike" kern="1200" cap="none" spc="0" normalizeH="0" baseline="0" noProof="0">
                <a:ln>
                  <a:noFill/>
                </a:ln>
                <a:solidFill>
                  <a:srgbClr val="8C8C8C"/>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br>
            <a:r>
              <a:rPr kumimoji="0" lang="de-DE" sz="1000" b="0" i="0" u="none" strike="noStrike" kern="1200" cap="none" spc="0" normalizeH="0" baseline="0" noProof="0">
                <a:ln>
                  <a:noFill/>
                </a:ln>
                <a:solidFill>
                  <a:srgbClr val="B2B2B2"/>
                </a:solidFill>
                <a:effectLst/>
                <a:uLnTx/>
                <a:uFillTx/>
                <a:latin typeface="Delivery" panose="020F0503020204020204" pitchFamily="34" charset="0"/>
                <a:ea typeface="Delivery" panose="020F0503020204020204" pitchFamily="34" charset="0"/>
                <a:cs typeface="Delivery" panose="020F0503020204020204" pitchFamily="34" charset="0"/>
              </a:rPr>
              <a:t>Dekarbonisierung</a:t>
            </a:r>
          </a:p>
        </p:txBody>
      </p:sp>
      <p:sp>
        <p:nvSpPr>
          <p:cNvPr id="149" name="Textfeld 148">
            <a:extLst>
              <a:ext uri="{FF2B5EF4-FFF2-40B4-BE49-F238E27FC236}">
                <a16:creationId xmlns:a16="http://schemas.microsoft.com/office/drawing/2014/main" id="{10F8C9E3-44B8-00E7-6233-0767EC51A216}"/>
              </a:ext>
            </a:extLst>
          </p:cNvPr>
          <p:cNvSpPr txBox="1"/>
          <p:nvPr/>
        </p:nvSpPr>
        <p:spPr>
          <a:xfrm>
            <a:off x="714340" y="4254412"/>
            <a:ext cx="2712187" cy="193899"/>
          </a:xfrm>
          <a:prstGeom prst="rect">
            <a:avLst/>
          </a:prstGeom>
          <a:noFill/>
        </p:spPr>
        <p:txBody>
          <a:bodyPr wrap="square" lIns="0" tIns="0" rIns="0" bIns="0" rtlCol="0">
            <a:spAutoFit/>
          </a:bodyPr>
          <a:lstStyle/>
          <a:p>
            <a:pPr marL="0" marR="0" lvl="0" indent="0" algn="l" defTabSz="685800" rtl="0" eaLnBrk="1" fontAlgn="auto" latinLnBrk="0" hangingPunct="1">
              <a:lnSpc>
                <a:spcPct val="105000"/>
              </a:lnSpc>
              <a:spcBef>
                <a:spcPts val="0"/>
              </a:spcBef>
              <a:spcAft>
                <a:spcPts val="500"/>
              </a:spcAft>
              <a:buClrTx/>
              <a:buSzTx/>
              <a:buFontTx/>
              <a:buNone/>
              <a:tabLst/>
              <a:defRPr/>
            </a:pPr>
            <a:r>
              <a:rPr kumimoji="0" lang="de-DE" sz="1100" b="1" i="0"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Alle neuen Gebäude</a:t>
            </a:r>
            <a:r>
              <a:rPr kumimoji="0" lang="de-DE" sz="1200" b="1"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 </a:t>
            </a:r>
            <a:r>
              <a:rPr kumimoji="0" lang="de-DE" sz="900" b="0"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CO</a:t>
            </a:r>
            <a:r>
              <a:rPr kumimoji="0" lang="de-DE" sz="900" b="0" i="0" u="none" strike="noStrike" kern="1200" cap="none" spc="0" normalizeH="0" baseline="-2500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de-DE" sz="900" b="0"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frei betreiben</a:t>
            </a:r>
          </a:p>
        </p:txBody>
      </p:sp>
      <p:sp>
        <p:nvSpPr>
          <p:cNvPr id="150" name="Rechteck 149">
            <a:extLst>
              <a:ext uri="{FF2B5EF4-FFF2-40B4-BE49-F238E27FC236}">
                <a16:creationId xmlns:a16="http://schemas.microsoft.com/office/drawing/2014/main" id="{5E11FA86-4ED5-A831-5A22-E0F5B84B932F}"/>
              </a:ext>
            </a:extLst>
          </p:cNvPr>
          <p:cNvSpPr/>
          <p:nvPr/>
        </p:nvSpPr>
        <p:spPr>
          <a:xfrm>
            <a:off x="372891" y="4542037"/>
            <a:ext cx="528547"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black"/>
                </a:solidFill>
                <a:effectLst/>
                <a:uLnTx/>
                <a:uFillTx/>
                <a:latin typeface="Delivery"/>
              </a:rPr>
              <a:t>2021</a:t>
            </a:r>
            <a:endParaRPr kumimoji="0" lang="de-DE" sz="1050" b="1"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sp>
        <p:nvSpPr>
          <p:cNvPr id="151" name="Rectangle 41">
            <a:extLst>
              <a:ext uri="{FF2B5EF4-FFF2-40B4-BE49-F238E27FC236}">
                <a16:creationId xmlns:a16="http://schemas.microsoft.com/office/drawing/2014/main" id="{ECAECAA1-D991-45BB-8CB8-C44581E086B6}"/>
              </a:ext>
            </a:extLst>
          </p:cNvPr>
          <p:cNvSpPr/>
          <p:nvPr/>
        </p:nvSpPr>
        <p:spPr>
          <a:xfrm>
            <a:off x="379777" y="973638"/>
            <a:ext cx="1414365" cy="330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39</a:t>
            </a:r>
            <a:r>
              <a:rPr kumimoji="0" lang="de-DE" sz="1400" b="1" i="0" u="none" strike="noStrike" kern="1200" cap="none" spc="0" normalizeH="0" baseline="0" noProof="0">
                <a:ln>
                  <a:noFill/>
                </a:ln>
                <a:solidFill>
                  <a:prstClr val="black"/>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 </a:t>
            </a:r>
            <a:r>
              <a:rPr kumimoji="0" lang="de-DE" sz="900" b="0"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Mio. t CO</a:t>
            </a:r>
            <a:r>
              <a:rPr kumimoji="0" lang="de-DE" sz="900" b="0" i="0" u="none" strike="noStrike" kern="1200" cap="none" spc="0" normalizeH="0" baseline="-2500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de-DE" sz="900" b="0"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e</a:t>
            </a:r>
          </a:p>
        </p:txBody>
      </p:sp>
      <p:cxnSp>
        <p:nvCxnSpPr>
          <p:cNvPr id="152" name="Gerade Verbindung 405">
            <a:extLst>
              <a:ext uri="{FF2B5EF4-FFF2-40B4-BE49-F238E27FC236}">
                <a16:creationId xmlns:a16="http://schemas.microsoft.com/office/drawing/2014/main" id="{00EF49B1-E75D-EBF2-3F11-C25F63548F30}"/>
              </a:ext>
            </a:extLst>
          </p:cNvPr>
          <p:cNvCxnSpPr>
            <a:cxnSpLocks/>
          </p:cNvCxnSpPr>
          <p:nvPr/>
        </p:nvCxnSpPr>
        <p:spPr>
          <a:xfrm flipV="1">
            <a:off x="571766" y="1268917"/>
            <a:ext cx="0" cy="3234587"/>
          </a:xfrm>
          <a:prstGeom prst="line">
            <a:avLst/>
          </a:prstGeom>
          <a:ln w="952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53" name="Textfeld 152">
            <a:extLst>
              <a:ext uri="{FF2B5EF4-FFF2-40B4-BE49-F238E27FC236}">
                <a16:creationId xmlns:a16="http://schemas.microsoft.com/office/drawing/2014/main" id="{726E564E-73FC-1B12-625D-3B5B9723B39C}"/>
              </a:ext>
            </a:extLst>
          </p:cNvPr>
          <p:cNvSpPr txBox="1"/>
          <p:nvPr/>
        </p:nvSpPr>
        <p:spPr>
          <a:xfrm rot="16200000">
            <a:off x="37246" y="3838315"/>
            <a:ext cx="993567" cy="267637"/>
          </a:xfrm>
          <a:prstGeom prst="rect">
            <a:avLst/>
          </a:prstGeom>
          <a:noFill/>
        </p:spPr>
        <p:txBody>
          <a:bodyPr wrap="non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de-DE" sz="900" b="0" i="0" u="none" strike="noStrike" kern="1200" cap="none" spc="0" normalizeH="0" baseline="0" noProof="0">
                <a:ln>
                  <a:noFill/>
                </a:ln>
                <a:solidFill>
                  <a:prstClr val="black"/>
                </a:solidFill>
                <a:effectLst/>
                <a:uLnTx/>
                <a:uFillTx/>
                <a:latin typeface="Delivery"/>
                <a:ea typeface="+mn-ea"/>
                <a:cs typeface="+mn-cs"/>
              </a:rPr>
              <a:t>BASISJAHR</a:t>
            </a:r>
          </a:p>
        </p:txBody>
      </p:sp>
      <p:sp>
        <p:nvSpPr>
          <p:cNvPr id="154" name="Rechteck 153">
            <a:extLst>
              <a:ext uri="{FF2B5EF4-FFF2-40B4-BE49-F238E27FC236}">
                <a16:creationId xmlns:a16="http://schemas.microsoft.com/office/drawing/2014/main" id="{A4F52AB6-5404-82D1-2104-C183A558AFF9}"/>
              </a:ext>
            </a:extLst>
          </p:cNvPr>
          <p:cNvSpPr/>
          <p:nvPr/>
        </p:nvSpPr>
        <p:spPr>
          <a:xfrm>
            <a:off x="4505277" y="4542037"/>
            <a:ext cx="528547"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black"/>
                </a:solidFill>
                <a:effectLst/>
                <a:uLnTx/>
                <a:uFillTx/>
                <a:latin typeface="Delivery"/>
                <a:ea typeface="+mn-ea"/>
                <a:cs typeface="+mn-cs"/>
              </a:rPr>
              <a:t>2030</a:t>
            </a:r>
            <a:endParaRPr kumimoji="0" lang="de-DE" sz="1050" b="1" i="0" u="none" strike="noStrike" kern="1200" cap="none" spc="0" normalizeH="0" baseline="0" noProof="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pic>
        <p:nvPicPr>
          <p:cNvPr id="160" name="Grafik 159">
            <a:extLst>
              <a:ext uri="{FF2B5EF4-FFF2-40B4-BE49-F238E27FC236}">
                <a16:creationId xmlns:a16="http://schemas.microsoft.com/office/drawing/2014/main" id="{341ED2EA-05EE-99C8-AB8B-EAE7843472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0787" y="2468367"/>
            <a:ext cx="899190" cy="273380"/>
          </a:xfrm>
          <a:prstGeom prst="rect">
            <a:avLst/>
          </a:prstGeom>
        </p:spPr>
      </p:pic>
      <p:pic>
        <p:nvPicPr>
          <p:cNvPr id="161" name="Grafik 160">
            <a:extLst>
              <a:ext uri="{FF2B5EF4-FFF2-40B4-BE49-F238E27FC236}">
                <a16:creationId xmlns:a16="http://schemas.microsoft.com/office/drawing/2014/main" id="{7246BDC8-0F4A-98E7-A01A-4D308937A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2562" y="2444855"/>
            <a:ext cx="847589" cy="261406"/>
          </a:xfrm>
          <a:prstGeom prst="rect">
            <a:avLst/>
          </a:prstGeom>
        </p:spPr>
      </p:pic>
      <p:grpSp>
        <p:nvGrpSpPr>
          <p:cNvPr id="162" name="Grafik 15">
            <a:extLst>
              <a:ext uri="{FF2B5EF4-FFF2-40B4-BE49-F238E27FC236}">
                <a16:creationId xmlns:a16="http://schemas.microsoft.com/office/drawing/2014/main" id="{3C3E9E77-F109-D422-4439-9AC515322606}"/>
              </a:ext>
            </a:extLst>
          </p:cNvPr>
          <p:cNvGrpSpPr/>
          <p:nvPr/>
        </p:nvGrpSpPr>
        <p:grpSpPr>
          <a:xfrm>
            <a:off x="3537738" y="4303162"/>
            <a:ext cx="782221" cy="201207"/>
            <a:chOff x="6028553" y="3342789"/>
            <a:chExt cx="1224000" cy="314843"/>
          </a:xfrm>
        </p:grpSpPr>
        <p:sp>
          <p:nvSpPr>
            <p:cNvPr id="163" name="Freihandform 26">
              <a:extLst>
                <a:ext uri="{FF2B5EF4-FFF2-40B4-BE49-F238E27FC236}">
                  <a16:creationId xmlns:a16="http://schemas.microsoft.com/office/drawing/2014/main" id="{3FA3843D-2E40-285D-798E-69069D9744F4}"/>
                </a:ext>
              </a:extLst>
            </p:cNvPr>
            <p:cNvSpPr/>
            <p:nvPr/>
          </p:nvSpPr>
          <p:spPr>
            <a:xfrm>
              <a:off x="6028553" y="3496457"/>
              <a:ext cx="1154014" cy="107442"/>
            </a:xfrm>
            <a:custGeom>
              <a:avLst/>
              <a:gdLst>
                <a:gd name="connsiteX0" fmla="*/ 0 w 1154014"/>
                <a:gd name="connsiteY0" fmla="*/ 0 h 107442"/>
                <a:gd name="connsiteX1" fmla="*/ 1154015 w 1154014"/>
                <a:gd name="connsiteY1" fmla="*/ 0 h 107442"/>
                <a:gd name="connsiteX2" fmla="*/ 1154015 w 1154014"/>
                <a:gd name="connsiteY2" fmla="*/ 107442 h 107442"/>
                <a:gd name="connsiteX3" fmla="*/ 0 w 1154014"/>
                <a:gd name="connsiteY3" fmla="*/ 107442 h 107442"/>
              </a:gdLst>
              <a:ahLst/>
              <a:cxnLst>
                <a:cxn ang="0">
                  <a:pos x="connsiteX0" y="connsiteY0"/>
                </a:cxn>
                <a:cxn ang="0">
                  <a:pos x="connsiteX1" y="connsiteY1"/>
                </a:cxn>
                <a:cxn ang="0">
                  <a:pos x="connsiteX2" y="connsiteY2"/>
                </a:cxn>
                <a:cxn ang="0">
                  <a:pos x="connsiteX3" y="connsiteY3"/>
                </a:cxn>
              </a:cxnLst>
              <a:rect l="l" t="t" r="r" b="b"/>
              <a:pathLst>
                <a:path w="1154014" h="107442">
                  <a:moveTo>
                    <a:pt x="0" y="0"/>
                  </a:moveTo>
                  <a:lnTo>
                    <a:pt x="1154015" y="0"/>
                  </a:lnTo>
                  <a:lnTo>
                    <a:pt x="1154015" y="107442"/>
                  </a:lnTo>
                  <a:lnTo>
                    <a:pt x="0" y="107442"/>
                  </a:lnTo>
                  <a:close/>
                </a:path>
              </a:pathLst>
            </a:custGeom>
            <a:solidFill>
              <a:srgbClr val="9C9F9F"/>
            </a:solidFill>
            <a:ln w="1131" cap="flat">
              <a:noFill/>
              <a:prstDash val="solid"/>
              <a:miter/>
            </a:ln>
          </p:spPr>
          <p:txBody>
            <a:bodyPr rtlCol="0" anchor="ctr"/>
            <a:lstStyle/>
            <a:p>
              <a:endParaRPr lang="de-DE"/>
            </a:p>
          </p:txBody>
        </p:sp>
        <p:sp>
          <p:nvSpPr>
            <p:cNvPr id="164" name="Freihandform 27">
              <a:extLst>
                <a:ext uri="{FF2B5EF4-FFF2-40B4-BE49-F238E27FC236}">
                  <a16:creationId xmlns:a16="http://schemas.microsoft.com/office/drawing/2014/main" id="{07DC31F0-BEF1-EA8E-D8CE-C2647E714224}"/>
                </a:ext>
              </a:extLst>
            </p:cNvPr>
            <p:cNvSpPr/>
            <p:nvPr/>
          </p:nvSpPr>
          <p:spPr>
            <a:xfrm>
              <a:off x="6028553" y="3342789"/>
              <a:ext cx="1035841" cy="261110"/>
            </a:xfrm>
            <a:custGeom>
              <a:avLst/>
              <a:gdLst>
                <a:gd name="connsiteX0" fmla="*/ 0 w 1035841"/>
                <a:gd name="connsiteY0" fmla="*/ 0 h 261110"/>
                <a:gd name="connsiteX1" fmla="*/ 1035842 w 1035841"/>
                <a:gd name="connsiteY1" fmla="*/ 0 h 261110"/>
                <a:gd name="connsiteX2" fmla="*/ 1035842 w 1035841"/>
                <a:gd name="connsiteY2" fmla="*/ 261111 h 261110"/>
                <a:gd name="connsiteX3" fmla="*/ 0 w 1035841"/>
                <a:gd name="connsiteY3" fmla="*/ 261111 h 261110"/>
              </a:gdLst>
              <a:ahLst/>
              <a:cxnLst>
                <a:cxn ang="0">
                  <a:pos x="connsiteX0" y="connsiteY0"/>
                </a:cxn>
                <a:cxn ang="0">
                  <a:pos x="connsiteX1" y="connsiteY1"/>
                </a:cxn>
                <a:cxn ang="0">
                  <a:pos x="connsiteX2" y="connsiteY2"/>
                </a:cxn>
                <a:cxn ang="0">
                  <a:pos x="connsiteX3" y="connsiteY3"/>
                </a:cxn>
              </a:cxnLst>
              <a:rect l="l" t="t" r="r" b="b"/>
              <a:pathLst>
                <a:path w="1035841" h="261110">
                  <a:moveTo>
                    <a:pt x="0" y="0"/>
                  </a:moveTo>
                  <a:lnTo>
                    <a:pt x="1035842" y="0"/>
                  </a:lnTo>
                  <a:lnTo>
                    <a:pt x="1035842" y="261111"/>
                  </a:lnTo>
                  <a:lnTo>
                    <a:pt x="0" y="261111"/>
                  </a:lnTo>
                  <a:close/>
                </a:path>
              </a:pathLst>
            </a:custGeom>
            <a:solidFill>
              <a:srgbClr val="FFCC00"/>
            </a:solidFill>
            <a:ln w="1131" cap="flat">
              <a:noFill/>
              <a:prstDash val="solid"/>
              <a:miter/>
            </a:ln>
          </p:spPr>
          <p:txBody>
            <a:bodyPr rtlCol="0" anchor="ctr"/>
            <a:lstStyle/>
            <a:p>
              <a:endParaRPr lang="de-DE"/>
            </a:p>
          </p:txBody>
        </p:sp>
        <p:grpSp>
          <p:nvGrpSpPr>
            <p:cNvPr id="165" name="Grafik 15">
              <a:extLst>
                <a:ext uri="{FF2B5EF4-FFF2-40B4-BE49-F238E27FC236}">
                  <a16:creationId xmlns:a16="http://schemas.microsoft.com/office/drawing/2014/main" id="{52A0AE42-5544-8505-7121-4FE8EED92AD0}"/>
                </a:ext>
              </a:extLst>
            </p:cNvPr>
            <p:cNvGrpSpPr/>
            <p:nvPr/>
          </p:nvGrpSpPr>
          <p:grpSpPr>
            <a:xfrm>
              <a:off x="6742612" y="3388391"/>
              <a:ext cx="193803" cy="27348"/>
              <a:chOff x="6742612" y="3388391"/>
              <a:chExt cx="193803" cy="27348"/>
            </a:xfrm>
            <a:solidFill>
              <a:srgbClr val="D40511"/>
            </a:solidFill>
          </p:grpSpPr>
          <p:grpSp>
            <p:nvGrpSpPr>
              <p:cNvPr id="443" name="Grafik 15">
                <a:extLst>
                  <a:ext uri="{FF2B5EF4-FFF2-40B4-BE49-F238E27FC236}">
                    <a16:creationId xmlns:a16="http://schemas.microsoft.com/office/drawing/2014/main" id="{1734D01B-1C31-2E53-D7C1-104E08BB43EF}"/>
                  </a:ext>
                </a:extLst>
              </p:cNvPr>
              <p:cNvGrpSpPr/>
              <p:nvPr/>
            </p:nvGrpSpPr>
            <p:grpSpPr>
              <a:xfrm>
                <a:off x="6742612" y="3406589"/>
                <a:ext cx="193803" cy="9150"/>
                <a:chOff x="6742612" y="3406589"/>
                <a:chExt cx="193803" cy="9150"/>
              </a:xfrm>
              <a:solidFill>
                <a:srgbClr val="D40511"/>
              </a:solidFill>
            </p:grpSpPr>
            <p:grpSp>
              <p:nvGrpSpPr>
                <p:cNvPr id="453" name="Grafik 15">
                  <a:extLst>
                    <a:ext uri="{FF2B5EF4-FFF2-40B4-BE49-F238E27FC236}">
                      <a16:creationId xmlns:a16="http://schemas.microsoft.com/office/drawing/2014/main" id="{F416ED05-AF09-3DE6-0291-9596514502CF}"/>
                    </a:ext>
                  </a:extLst>
                </p:cNvPr>
                <p:cNvGrpSpPr/>
                <p:nvPr/>
              </p:nvGrpSpPr>
              <p:grpSpPr>
                <a:xfrm>
                  <a:off x="6742612" y="3406589"/>
                  <a:ext cx="28872" cy="9150"/>
                  <a:chOff x="6742612" y="3406589"/>
                  <a:chExt cx="28872" cy="9150"/>
                </a:xfrm>
                <a:solidFill>
                  <a:srgbClr val="D40511"/>
                </a:solidFill>
              </p:grpSpPr>
              <p:sp>
                <p:nvSpPr>
                  <p:cNvPr id="458" name="Freihandform 540">
                    <a:extLst>
                      <a:ext uri="{FF2B5EF4-FFF2-40B4-BE49-F238E27FC236}">
                        <a16:creationId xmlns:a16="http://schemas.microsoft.com/office/drawing/2014/main" id="{0039E6B7-C4EC-44E0-12A8-A17FCC467CDF}"/>
                      </a:ext>
                    </a:extLst>
                  </p:cNvPr>
                  <p:cNvSpPr/>
                  <p:nvPr/>
                </p:nvSpPr>
                <p:spPr>
                  <a:xfrm>
                    <a:off x="6742612" y="3410195"/>
                    <a:ext cx="26202" cy="1950"/>
                  </a:xfrm>
                  <a:custGeom>
                    <a:avLst/>
                    <a:gdLst>
                      <a:gd name="connsiteX0" fmla="*/ 0 w 26202"/>
                      <a:gd name="connsiteY0" fmla="*/ 0 h 1950"/>
                      <a:gd name="connsiteX1" fmla="*/ 26203 w 26202"/>
                      <a:gd name="connsiteY1" fmla="*/ 0 h 1950"/>
                      <a:gd name="connsiteX2" fmla="*/ 24771 w 26202"/>
                      <a:gd name="connsiteY2" fmla="*/ 1950 h 1950"/>
                      <a:gd name="connsiteX3" fmla="*/ 0 w 26202"/>
                      <a:gd name="connsiteY3" fmla="*/ 1950 h 1950"/>
                      <a:gd name="connsiteX4" fmla="*/ 0 w 26202"/>
                      <a:gd name="connsiteY4" fmla="*/ 0 h 1950"/>
                      <a:gd name="connsiteX5" fmla="*/ 0 w 26202"/>
                      <a:gd name="connsiteY5" fmla="*/ 0 h 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02" h="1950">
                        <a:moveTo>
                          <a:pt x="0" y="0"/>
                        </a:moveTo>
                        <a:lnTo>
                          <a:pt x="26203" y="0"/>
                        </a:lnTo>
                        <a:lnTo>
                          <a:pt x="24771" y="1950"/>
                        </a:lnTo>
                        <a:lnTo>
                          <a:pt x="0" y="1950"/>
                        </a:lnTo>
                        <a:lnTo>
                          <a:pt x="0" y="0"/>
                        </a:lnTo>
                        <a:lnTo>
                          <a:pt x="0" y="0"/>
                        </a:lnTo>
                        <a:close/>
                      </a:path>
                    </a:pathLst>
                  </a:custGeom>
                  <a:solidFill>
                    <a:srgbClr val="D40511"/>
                  </a:solidFill>
                  <a:ln w="1131" cap="flat">
                    <a:noFill/>
                    <a:prstDash val="solid"/>
                    <a:miter/>
                  </a:ln>
                </p:spPr>
                <p:txBody>
                  <a:bodyPr rtlCol="0" anchor="ctr"/>
                  <a:lstStyle/>
                  <a:p>
                    <a:endParaRPr lang="de-DE"/>
                  </a:p>
                </p:txBody>
              </p:sp>
              <p:sp>
                <p:nvSpPr>
                  <p:cNvPr id="459" name="Freihandform 541">
                    <a:extLst>
                      <a:ext uri="{FF2B5EF4-FFF2-40B4-BE49-F238E27FC236}">
                        <a16:creationId xmlns:a16="http://schemas.microsoft.com/office/drawing/2014/main" id="{5D653170-AAEA-FE38-BCF7-973A92CA0A68}"/>
                      </a:ext>
                    </a:extLst>
                  </p:cNvPr>
                  <p:cNvSpPr/>
                  <p:nvPr/>
                </p:nvSpPr>
                <p:spPr>
                  <a:xfrm>
                    <a:off x="6742612" y="3406589"/>
                    <a:ext cx="28872" cy="1938"/>
                  </a:xfrm>
                  <a:custGeom>
                    <a:avLst/>
                    <a:gdLst>
                      <a:gd name="connsiteX0" fmla="*/ 0 w 28872"/>
                      <a:gd name="connsiteY0" fmla="*/ 0 h 1938"/>
                      <a:gd name="connsiteX1" fmla="*/ 28873 w 28872"/>
                      <a:gd name="connsiteY1" fmla="*/ 0 h 1938"/>
                      <a:gd name="connsiteX2" fmla="*/ 27441 w 28872"/>
                      <a:gd name="connsiteY2" fmla="*/ 1939 h 1938"/>
                      <a:gd name="connsiteX3" fmla="*/ 0 w 28872"/>
                      <a:gd name="connsiteY3" fmla="*/ 1939 h 1938"/>
                      <a:gd name="connsiteX4" fmla="*/ 0 w 28872"/>
                      <a:gd name="connsiteY4" fmla="*/ 0 h 1938"/>
                      <a:gd name="connsiteX5" fmla="*/ 0 w 28872"/>
                      <a:gd name="connsiteY5" fmla="*/ 0 h 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72" h="1938">
                        <a:moveTo>
                          <a:pt x="0" y="0"/>
                        </a:moveTo>
                        <a:lnTo>
                          <a:pt x="28873" y="0"/>
                        </a:lnTo>
                        <a:lnTo>
                          <a:pt x="27441" y="1939"/>
                        </a:lnTo>
                        <a:lnTo>
                          <a:pt x="0" y="1939"/>
                        </a:lnTo>
                        <a:lnTo>
                          <a:pt x="0" y="0"/>
                        </a:lnTo>
                        <a:lnTo>
                          <a:pt x="0" y="0"/>
                        </a:lnTo>
                        <a:close/>
                      </a:path>
                    </a:pathLst>
                  </a:custGeom>
                  <a:solidFill>
                    <a:srgbClr val="D40511"/>
                  </a:solidFill>
                  <a:ln w="1131" cap="flat">
                    <a:noFill/>
                    <a:prstDash val="solid"/>
                    <a:miter/>
                  </a:ln>
                </p:spPr>
                <p:txBody>
                  <a:bodyPr rtlCol="0" anchor="ctr"/>
                  <a:lstStyle/>
                  <a:p>
                    <a:endParaRPr lang="de-DE"/>
                  </a:p>
                </p:txBody>
              </p:sp>
              <p:sp>
                <p:nvSpPr>
                  <p:cNvPr id="460" name="Freihandform 542">
                    <a:extLst>
                      <a:ext uri="{FF2B5EF4-FFF2-40B4-BE49-F238E27FC236}">
                        <a16:creationId xmlns:a16="http://schemas.microsoft.com/office/drawing/2014/main" id="{8A69E7B3-DD7D-4A12-3BDF-11B0AF227151}"/>
                      </a:ext>
                    </a:extLst>
                  </p:cNvPr>
                  <p:cNvSpPr/>
                  <p:nvPr/>
                </p:nvSpPr>
                <p:spPr>
                  <a:xfrm>
                    <a:off x="6742612" y="3413812"/>
                    <a:ext cx="23543" cy="1927"/>
                  </a:xfrm>
                  <a:custGeom>
                    <a:avLst/>
                    <a:gdLst>
                      <a:gd name="connsiteX0" fmla="*/ 0 w 23543"/>
                      <a:gd name="connsiteY0" fmla="*/ 0 h 1927"/>
                      <a:gd name="connsiteX1" fmla="*/ 23544 w 23543"/>
                      <a:gd name="connsiteY1" fmla="*/ 0 h 1927"/>
                      <a:gd name="connsiteX2" fmla="*/ 22123 w 23543"/>
                      <a:gd name="connsiteY2" fmla="*/ 1928 h 1927"/>
                      <a:gd name="connsiteX3" fmla="*/ 0 w 23543"/>
                      <a:gd name="connsiteY3" fmla="*/ 1928 h 1927"/>
                      <a:gd name="connsiteX4" fmla="*/ 0 w 23543"/>
                      <a:gd name="connsiteY4" fmla="*/ 0 h 1927"/>
                      <a:gd name="connsiteX5" fmla="*/ 0 w 23543"/>
                      <a:gd name="connsiteY5" fmla="*/ 0 h 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43" h="1927">
                        <a:moveTo>
                          <a:pt x="0" y="0"/>
                        </a:moveTo>
                        <a:lnTo>
                          <a:pt x="23544" y="0"/>
                        </a:lnTo>
                        <a:lnTo>
                          <a:pt x="22123" y="1928"/>
                        </a:lnTo>
                        <a:lnTo>
                          <a:pt x="0" y="1928"/>
                        </a:lnTo>
                        <a:lnTo>
                          <a:pt x="0" y="0"/>
                        </a:lnTo>
                        <a:lnTo>
                          <a:pt x="0" y="0"/>
                        </a:lnTo>
                        <a:close/>
                      </a:path>
                    </a:pathLst>
                  </a:custGeom>
                  <a:solidFill>
                    <a:srgbClr val="D40511"/>
                  </a:solidFill>
                  <a:ln w="1131" cap="flat">
                    <a:noFill/>
                    <a:prstDash val="solid"/>
                    <a:miter/>
                  </a:ln>
                </p:spPr>
                <p:txBody>
                  <a:bodyPr rtlCol="0" anchor="ctr"/>
                  <a:lstStyle/>
                  <a:p>
                    <a:endParaRPr lang="de-DE"/>
                  </a:p>
                </p:txBody>
              </p:sp>
            </p:grpSp>
            <p:grpSp>
              <p:nvGrpSpPr>
                <p:cNvPr id="454" name="Grafik 15">
                  <a:extLst>
                    <a:ext uri="{FF2B5EF4-FFF2-40B4-BE49-F238E27FC236}">
                      <a16:creationId xmlns:a16="http://schemas.microsoft.com/office/drawing/2014/main" id="{025E9C7A-2E16-6E24-FCD4-9C72A2533BD3}"/>
                    </a:ext>
                  </a:extLst>
                </p:cNvPr>
                <p:cNvGrpSpPr/>
                <p:nvPr/>
              </p:nvGrpSpPr>
              <p:grpSpPr>
                <a:xfrm>
                  <a:off x="6907656" y="3406589"/>
                  <a:ext cx="28759" cy="9150"/>
                  <a:chOff x="6907656" y="3406589"/>
                  <a:chExt cx="28759" cy="9150"/>
                </a:xfrm>
                <a:solidFill>
                  <a:srgbClr val="D40511"/>
                </a:solidFill>
              </p:grpSpPr>
              <p:sp>
                <p:nvSpPr>
                  <p:cNvPr id="455" name="Freihandform 537">
                    <a:extLst>
                      <a:ext uri="{FF2B5EF4-FFF2-40B4-BE49-F238E27FC236}">
                        <a16:creationId xmlns:a16="http://schemas.microsoft.com/office/drawing/2014/main" id="{97ADE4BA-D879-BB76-E53F-175F423968AF}"/>
                      </a:ext>
                    </a:extLst>
                  </p:cNvPr>
                  <p:cNvSpPr/>
                  <p:nvPr/>
                </p:nvSpPr>
                <p:spPr>
                  <a:xfrm>
                    <a:off x="6910304" y="3410195"/>
                    <a:ext cx="26111" cy="1950"/>
                  </a:xfrm>
                  <a:custGeom>
                    <a:avLst/>
                    <a:gdLst>
                      <a:gd name="connsiteX0" fmla="*/ 26112 w 26111"/>
                      <a:gd name="connsiteY0" fmla="*/ 1950 h 1950"/>
                      <a:gd name="connsiteX1" fmla="*/ 0 w 26111"/>
                      <a:gd name="connsiteY1" fmla="*/ 1950 h 1950"/>
                      <a:gd name="connsiteX2" fmla="*/ 1432 w 26111"/>
                      <a:gd name="connsiteY2" fmla="*/ 0 h 1950"/>
                      <a:gd name="connsiteX3" fmla="*/ 26112 w 26111"/>
                      <a:gd name="connsiteY3" fmla="*/ 0 h 1950"/>
                      <a:gd name="connsiteX4" fmla="*/ 26112 w 26111"/>
                      <a:gd name="connsiteY4" fmla="*/ 1950 h 1950"/>
                      <a:gd name="connsiteX5" fmla="*/ 26112 w 26111"/>
                      <a:gd name="connsiteY5" fmla="*/ 1950 h 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11" h="1950">
                        <a:moveTo>
                          <a:pt x="26112" y="1950"/>
                        </a:moveTo>
                        <a:lnTo>
                          <a:pt x="0" y="1950"/>
                        </a:lnTo>
                        <a:lnTo>
                          <a:pt x="1432" y="0"/>
                        </a:lnTo>
                        <a:lnTo>
                          <a:pt x="26112" y="0"/>
                        </a:lnTo>
                        <a:lnTo>
                          <a:pt x="26112" y="1950"/>
                        </a:lnTo>
                        <a:lnTo>
                          <a:pt x="26112" y="1950"/>
                        </a:lnTo>
                        <a:close/>
                      </a:path>
                    </a:pathLst>
                  </a:custGeom>
                  <a:solidFill>
                    <a:srgbClr val="D40511"/>
                  </a:solidFill>
                  <a:ln w="1131" cap="flat">
                    <a:noFill/>
                    <a:prstDash val="solid"/>
                    <a:miter/>
                  </a:ln>
                </p:spPr>
                <p:txBody>
                  <a:bodyPr rtlCol="0" anchor="ctr"/>
                  <a:lstStyle/>
                  <a:p>
                    <a:endParaRPr lang="de-DE"/>
                  </a:p>
                </p:txBody>
              </p:sp>
              <p:sp>
                <p:nvSpPr>
                  <p:cNvPr id="456" name="Freihandform 538">
                    <a:extLst>
                      <a:ext uri="{FF2B5EF4-FFF2-40B4-BE49-F238E27FC236}">
                        <a16:creationId xmlns:a16="http://schemas.microsoft.com/office/drawing/2014/main" id="{3612155E-EE69-06DF-2859-DFC93BA0C73E}"/>
                      </a:ext>
                    </a:extLst>
                  </p:cNvPr>
                  <p:cNvSpPr/>
                  <p:nvPr/>
                </p:nvSpPr>
                <p:spPr>
                  <a:xfrm>
                    <a:off x="6907656" y="3413812"/>
                    <a:ext cx="28759" cy="1927"/>
                  </a:xfrm>
                  <a:custGeom>
                    <a:avLst/>
                    <a:gdLst>
                      <a:gd name="connsiteX0" fmla="*/ 28759 w 28759"/>
                      <a:gd name="connsiteY0" fmla="*/ 1928 h 1927"/>
                      <a:gd name="connsiteX1" fmla="*/ 0 w 28759"/>
                      <a:gd name="connsiteY1" fmla="*/ 1928 h 1927"/>
                      <a:gd name="connsiteX2" fmla="*/ 1420 w 28759"/>
                      <a:gd name="connsiteY2" fmla="*/ 0 h 1927"/>
                      <a:gd name="connsiteX3" fmla="*/ 28759 w 28759"/>
                      <a:gd name="connsiteY3" fmla="*/ 0 h 1927"/>
                      <a:gd name="connsiteX4" fmla="*/ 28759 w 28759"/>
                      <a:gd name="connsiteY4" fmla="*/ 1928 h 1927"/>
                      <a:gd name="connsiteX5" fmla="*/ 28759 w 28759"/>
                      <a:gd name="connsiteY5" fmla="*/ 1928 h 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9" h="1927">
                        <a:moveTo>
                          <a:pt x="28759" y="1928"/>
                        </a:moveTo>
                        <a:lnTo>
                          <a:pt x="0" y="1928"/>
                        </a:lnTo>
                        <a:lnTo>
                          <a:pt x="1420" y="0"/>
                        </a:lnTo>
                        <a:lnTo>
                          <a:pt x="28759" y="0"/>
                        </a:lnTo>
                        <a:lnTo>
                          <a:pt x="28759" y="1928"/>
                        </a:lnTo>
                        <a:lnTo>
                          <a:pt x="28759" y="1928"/>
                        </a:lnTo>
                        <a:close/>
                      </a:path>
                    </a:pathLst>
                  </a:custGeom>
                  <a:solidFill>
                    <a:srgbClr val="D40511"/>
                  </a:solidFill>
                  <a:ln w="1131" cap="flat">
                    <a:noFill/>
                    <a:prstDash val="solid"/>
                    <a:miter/>
                  </a:ln>
                </p:spPr>
                <p:txBody>
                  <a:bodyPr rtlCol="0" anchor="ctr"/>
                  <a:lstStyle/>
                  <a:p>
                    <a:endParaRPr lang="de-DE"/>
                  </a:p>
                </p:txBody>
              </p:sp>
              <p:sp>
                <p:nvSpPr>
                  <p:cNvPr id="457" name="Freihandform 539">
                    <a:extLst>
                      <a:ext uri="{FF2B5EF4-FFF2-40B4-BE49-F238E27FC236}">
                        <a16:creationId xmlns:a16="http://schemas.microsoft.com/office/drawing/2014/main" id="{F5C44AAE-98CB-2CC2-FA56-8495F196038E}"/>
                      </a:ext>
                    </a:extLst>
                  </p:cNvPr>
                  <p:cNvSpPr/>
                  <p:nvPr/>
                </p:nvSpPr>
                <p:spPr>
                  <a:xfrm>
                    <a:off x="6912963" y="3406589"/>
                    <a:ext cx="23452" cy="1950"/>
                  </a:xfrm>
                  <a:custGeom>
                    <a:avLst/>
                    <a:gdLst>
                      <a:gd name="connsiteX0" fmla="*/ 1432 w 23452"/>
                      <a:gd name="connsiteY0" fmla="*/ 0 h 1950"/>
                      <a:gd name="connsiteX1" fmla="*/ 23453 w 23452"/>
                      <a:gd name="connsiteY1" fmla="*/ 0 h 1950"/>
                      <a:gd name="connsiteX2" fmla="*/ 23453 w 23452"/>
                      <a:gd name="connsiteY2" fmla="*/ 1939 h 1950"/>
                      <a:gd name="connsiteX3" fmla="*/ 0 w 23452"/>
                      <a:gd name="connsiteY3" fmla="*/ 1950 h 1950"/>
                      <a:gd name="connsiteX4" fmla="*/ 1432 w 23452"/>
                      <a:gd name="connsiteY4" fmla="*/ 0 h 1950"/>
                      <a:gd name="connsiteX5" fmla="*/ 1432 w 23452"/>
                      <a:gd name="connsiteY5" fmla="*/ 0 h 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52" h="1950">
                        <a:moveTo>
                          <a:pt x="1432" y="0"/>
                        </a:moveTo>
                        <a:lnTo>
                          <a:pt x="23453" y="0"/>
                        </a:lnTo>
                        <a:lnTo>
                          <a:pt x="23453" y="1939"/>
                        </a:lnTo>
                        <a:lnTo>
                          <a:pt x="0" y="1950"/>
                        </a:lnTo>
                        <a:lnTo>
                          <a:pt x="1432" y="0"/>
                        </a:lnTo>
                        <a:lnTo>
                          <a:pt x="1432" y="0"/>
                        </a:lnTo>
                        <a:close/>
                      </a:path>
                    </a:pathLst>
                  </a:custGeom>
                  <a:solidFill>
                    <a:srgbClr val="D40511"/>
                  </a:solidFill>
                  <a:ln w="1131" cap="flat">
                    <a:noFill/>
                    <a:prstDash val="solid"/>
                    <a:miter/>
                  </a:ln>
                </p:spPr>
                <p:txBody>
                  <a:bodyPr rtlCol="0" anchor="ctr"/>
                  <a:lstStyle/>
                  <a:p>
                    <a:endParaRPr lang="de-DE"/>
                  </a:p>
                </p:txBody>
              </p:sp>
            </p:grpSp>
          </p:grpSp>
          <p:grpSp>
            <p:nvGrpSpPr>
              <p:cNvPr id="444" name="Grafik 15">
                <a:extLst>
                  <a:ext uri="{FF2B5EF4-FFF2-40B4-BE49-F238E27FC236}">
                    <a16:creationId xmlns:a16="http://schemas.microsoft.com/office/drawing/2014/main" id="{0E1C5858-9CC8-D428-5E29-BAF89A950748}"/>
                  </a:ext>
                </a:extLst>
              </p:cNvPr>
              <p:cNvGrpSpPr/>
              <p:nvPr/>
            </p:nvGrpSpPr>
            <p:grpSpPr>
              <a:xfrm>
                <a:off x="6767996" y="3398879"/>
                <a:ext cx="143148" cy="16860"/>
                <a:chOff x="6767996" y="3398879"/>
                <a:chExt cx="143148" cy="16860"/>
              </a:xfrm>
              <a:solidFill>
                <a:srgbClr val="D40511"/>
              </a:solidFill>
            </p:grpSpPr>
            <p:sp>
              <p:nvSpPr>
                <p:cNvPr id="449" name="Freihandform 531">
                  <a:extLst>
                    <a:ext uri="{FF2B5EF4-FFF2-40B4-BE49-F238E27FC236}">
                      <a16:creationId xmlns:a16="http://schemas.microsoft.com/office/drawing/2014/main" id="{15CB2FAE-0FB5-6D61-B8C2-87F75B91C21E}"/>
                    </a:ext>
                  </a:extLst>
                </p:cNvPr>
                <p:cNvSpPr/>
                <p:nvPr/>
              </p:nvSpPr>
              <p:spPr>
                <a:xfrm>
                  <a:off x="6767996" y="3398879"/>
                  <a:ext cx="47655" cy="16860"/>
                </a:xfrm>
                <a:custGeom>
                  <a:avLst/>
                  <a:gdLst>
                    <a:gd name="connsiteX0" fmla="*/ 0 w 47655"/>
                    <a:gd name="connsiteY0" fmla="*/ 16860 h 16860"/>
                    <a:gd name="connsiteX1" fmla="*/ 12442 w 47655"/>
                    <a:gd name="connsiteY1" fmla="*/ 0 h 16860"/>
                    <a:gd name="connsiteX2" fmla="*/ 27873 w 47655"/>
                    <a:gd name="connsiteY2" fmla="*/ 0 h 16860"/>
                    <a:gd name="connsiteX3" fmla="*/ 28725 w 47655"/>
                    <a:gd name="connsiteY3" fmla="*/ 1769 h 16860"/>
                    <a:gd name="connsiteX4" fmla="*/ 25578 w 47655"/>
                    <a:gd name="connsiteY4" fmla="*/ 6043 h 16860"/>
                    <a:gd name="connsiteX5" fmla="*/ 26975 w 47655"/>
                    <a:gd name="connsiteY5" fmla="*/ 7710 h 16860"/>
                    <a:gd name="connsiteX6" fmla="*/ 47655 w 47655"/>
                    <a:gd name="connsiteY6" fmla="*/ 7710 h 16860"/>
                    <a:gd name="connsiteX7" fmla="*/ 30339 w 47655"/>
                    <a:gd name="connsiteY7" fmla="*/ 16860 h 16860"/>
                    <a:gd name="connsiteX8" fmla="*/ 11 w 47655"/>
                    <a:gd name="connsiteY8" fmla="*/ 16860 h 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55" h="16860">
                      <a:moveTo>
                        <a:pt x="0" y="16860"/>
                      </a:moveTo>
                      <a:lnTo>
                        <a:pt x="12442" y="0"/>
                      </a:lnTo>
                      <a:lnTo>
                        <a:pt x="27873" y="0"/>
                      </a:lnTo>
                      <a:cubicBezTo>
                        <a:pt x="29577" y="0"/>
                        <a:pt x="29555" y="646"/>
                        <a:pt x="28725" y="1769"/>
                      </a:cubicBezTo>
                      <a:cubicBezTo>
                        <a:pt x="27873" y="2914"/>
                        <a:pt x="26441" y="4887"/>
                        <a:pt x="25578" y="6043"/>
                      </a:cubicBezTo>
                      <a:cubicBezTo>
                        <a:pt x="25134" y="6633"/>
                        <a:pt x="24350" y="7710"/>
                        <a:pt x="26975" y="7710"/>
                      </a:cubicBezTo>
                      <a:lnTo>
                        <a:pt x="47655" y="7710"/>
                      </a:lnTo>
                      <a:cubicBezTo>
                        <a:pt x="45940" y="10057"/>
                        <a:pt x="40361" y="16860"/>
                        <a:pt x="30339" y="16860"/>
                      </a:cubicBezTo>
                      <a:lnTo>
                        <a:pt x="11" y="16860"/>
                      </a:lnTo>
                      <a:close/>
                    </a:path>
                  </a:pathLst>
                </a:custGeom>
                <a:solidFill>
                  <a:srgbClr val="D40511"/>
                </a:solidFill>
                <a:ln w="1131" cap="flat">
                  <a:noFill/>
                  <a:prstDash val="solid"/>
                  <a:miter/>
                </a:ln>
              </p:spPr>
              <p:txBody>
                <a:bodyPr rtlCol="0" anchor="ctr"/>
                <a:lstStyle/>
                <a:p>
                  <a:endParaRPr lang="de-DE"/>
                </a:p>
              </p:txBody>
            </p:sp>
            <p:sp>
              <p:nvSpPr>
                <p:cNvPr id="450" name="Freihandform 532">
                  <a:extLst>
                    <a:ext uri="{FF2B5EF4-FFF2-40B4-BE49-F238E27FC236}">
                      <a16:creationId xmlns:a16="http://schemas.microsoft.com/office/drawing/2014/main" id="{A6CC3623-9191-8233-343A-C66677F5E8F8}"/>
                    </a:ext>
                  </a:extLst>
                </p:cNvPr>
                <p:cNvSpPr/>
                <p:nvPr/>
              </p:nvSpPr>
              <p:spPr>
                <a:xfrm>
                  <a:off x="6814686" y="3406589"/>
                  <a:ext cx="24532" cy="9150"/>
                </a:xfrm>
                <a:custGeom>
                  <a:avLst/>
                  <a:gdLst>
                    <a:gd name="connsiteX0" fmla="*/ 24532 w 24532"/>
                    <a:gd name="connsiteY0" fmla="*/ 0 h 9150"/>
                    <a:gd name="connsiteX1" fmla="*/ 17794 w 24532"/>
                    <a:gd name="connsiteY1" fmla="*/ 9150 h 9150"/>
                    <a:gd name="connsiteX2" fmla="*/ 0 w 24532"/>
                    <a:gd name="connsiteY2" fmla="*/ 9150 h 9150"/>
                    <a:gd name="connsiteX3" fmla="*/ 6749 w 24532"/>
                    <a:gd name="connsiteY3" fmla="*/ 0 h 9150"/>
                    <a:gd name="connsiteX4" fmla="*/ 24532 w 24532"/>
                    <a:gd name="connsiteY4" fmla="*/ 0 h 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2" h="9150">
                      <a:moveTo>
                        <a:pt x="24532" y="0"/>
                      </a:moveTo>
                      <a:lnTo>
                        <a:pt x="17794" y="9150"/>
                      </a:lnTo>
                      <a:lnTo>
                        <a:pt x="0" y="9150"/>
                      </a:lnTo>
                      <a:cubicBezTo>
                        <a:pt x="0" y="9150"/>
                        <a:pt x="6738" y="0"/>
                        <a:pt x="6749" y="0"/>
                      </a:cubicBezTo>
                      <a:lnTo>
                        <a:pt x="24532" y="0"/>
                      </a:lnTo>
                      <a:close/>
                    </a:path>
                  </a:pathLst>
                </a:custGeom>
                <a:solidFill>
                  <a:srgbClr val="D40511"/>
                </a:solidFill>
                <a:ln w="1131" cap="flat">
                  <a:noFill/>
                  <a:prstDash val="solid"/>
                  <a:miter/>
                </a:ln>
              </p:spPr>
              <p:txBody>
                <a:bodyPr rtlCol="0" anchor="ctr"/>
                <a:lstStyle/>
                <a:p>
                  <a:endParaRPr lang="de-DE"/>
                </a:p>
              </p:txBody>
            </p:sp>
            <p:sp>
              <p:nvSpPr>
                <p:cNvPr id="451" name="Freihandform 533">
                  <a:extLst>
                    <a:ext uri="{FF2B5EF4-FFF2-40B4-BE49-F238E27FC236}">
                      <a16:creationId xmlns:a16="http://schemas.microsoft.com/office/drawing/2014/main" id="{BCCF8FAB-AE4B-6667-AC03-1CF530B42605}"/>
                    </a:ext>
                  </a:extLst>
                </p:cNvPr>
                <p:cNvSpPr/>
                <p:nvPr/>
              </p:nvSpPr>
              <p:spPr>
                <a:xfrm>
                  <a:off x="6840411" y="3406589"/>
                  <a:ext cx="24532" cy="9150"/>
                </a:xfrm>
                <a:custGeom>
                  <a:avLst/>
                  <a:gdLst>
                    <a:gd name="connsiteX0" fmla="*/ 24532 w 24532"/>
                    <a:gd name="connsiteY0" fmla="*/ 0 h 9150"/>
                    <a:gd name="connsiteX1" fmla="*/ 17783 w 24532"/>
                    <a:gd name="connsiteY1" fmla="*/ 9150 h 9150"/>
                    <a:gd name="connsiteX2" fmla="*/ 0 w 24532"/>
                    <a:gd name="connsiteY2" fmla="*/ 9150 h 9150"/>
                    <a:gd name="connsiteX3" fmla="*/ 6749 w 24532"/>
                    <a:gd name="connsiteY3" fmla="*/ 0 h 9150"/>
                    <a:gd name="connsiteX4" fmla="*/ 24532 w 24532"/>
                    <a:gd name="connsiteY4" fmla="*/ 0 h 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32" h="9150">
                      <a:moveTo>
                        <a:pt x="24532" y="0"/>
                      </a:moveTo>
                      <a:lnTo>
                        <a:pt x="17783" y="9150"/>
                      </a:lnTo>
                      <a:lnTo>
                        <a:pt x="0" y="9150"/>
                      </a:lnTo>
                      <a:cubicBezTo>
                        <a:pt x="0" y="9150"/>
                        <a:pt x="6738" y="0"/>
                        <a:pt x="6749" y="0"/>
                      </a:cubicBezTo>
                      <a:lnTo>
                        <a:pt x="24532" y="0"/>
                      </a:lnTo>
                      <a:close/>
                    </a:path>
                  </a:pathLst>
                </a:custGeom>
                <a:solidFill>
                  <a:srgbClr val="D40511"/>
                </a:solidFill>
                <a:ln w="1131" cap="flat">
                  <a:noFill/>
                  <a:prstDash val="solid"/>
                  <a:miter/>
                </a:ln>
              </p:spPr>
              <p:txBody>
                <a:bodyPr rtlCol="0" anchor="ctr"/>
                <a:lstStyle/>
                <a:p>
                  <a:endParaRPr lang="de-DE"/>
                </a:p>
              </p:txBody>
            </p:sp>
            <p:sp>
              <p:nvSpPr>
                <p:cNvPr id="452" name="Freihandform 534">
                  <a:extLst>
                    <a:ext uri="{FF2B5EF4-FFF2-40B4-BE49-F238E27FC236}">
                      <a16:creationId xmlns:a16="http://schemas.microsoft.com/office/drawing/2014/main" id="{6F0AC7F1-BC67-0CCD-EE64-5DD30C98C685}"/>
                    </a:ext>
                  </a:extLst>
                </p:cNvPr>
                <p:cNvSpPr/>
                <p:nvPr/>
              </p:nvSpPr>
              <p:spPr>
                <a:xfrm>
                  <a:off x="6867924" y="3406589"/>
                  <a:ext cx="43220" cy="9150"/>
                </a:xfrm>
                <a:custGeom>
                  <a:avLst/>
                  <a:gdLst>
                    <a:gd name="connsiteX0" fmla="*/ 2804 w 43220"/>
                    <a:gd name="connsiteY0" fmla="*/ 0 h 9150"/>
                    <a:gd name="connsiteX1" fmla="*/ 872 w 43220"/>
                    <a:gd name="connsiteY1" fmla="*/ 2630 h 9150"/>
                    <a:gd name="connsiteX2" fmla="*/ 7905 w 43220"/>
                    <a:gd name="connsiteY2" fmla="*/ 9150 h 9150"/>
                    <a:gd name="connsiteX3" fmla="*/ 36471 w 43220"/>
                    <a:gd name="connsiteY3" fmla="*/ 9150 h 9150"/>
                    <a:gd name="connsiteX4" fmla="*/ 43221 w 43220"/>
                    <a:gd name="connsiteY4" fmla="*/ 0 h 9150"/>
                    <a:gd name="connsiteX5" fmla="*/ 2815 w 43220"/>
                    <a:gd name="connsiteY5" fmla="*/ 0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20" h="9150">
                      <a:moveTo>
                        <a:pt x="2804" y="0"/>
                      </a:moveTo>
                      <a:cubicBezTo>
                        <a:pt x="2804" y="0"/>
                        <a:pt x="1508" y="1769"/>
                        <a:pt x="872" y="2630"/>
                      </a:cubicBezTo>
                      <a:cubicBezTo>
                        <a:pt x="-1367" y="5646"/>
                        <a:pt x="611" y="9150"/>
                        <a:pt x="7905" y="9150"/>
                      </a:cubicBezTo>
                      <a:lnTo>
                        <a:pt x="36471" y="9150"/>
                      </a:lnTo>
                      <a:lnTo>
                        <a:pt x="43221" y="0"/>
                      </a:lnTo>
                      <a:lnTo>
                        <a:pt x="2815" y="0"/>
                      </a:lnTo>
                      <a:close/>
                    </a:path>
                  </a:pathLst>
                </a:custGeom>
                <a:solidFill>
                  <a:srgbClr val="D40511"/>
                </a:solidFill>
                <a:ln w="1131" cap="flat">
                  <a:noFill/>
                  <a:prstDash val="solid"/>
                  <a:miter/>
                </a:ln>
              </p:spPr>
              <p:txBody>
                <a:bodyPr rtlCol="0" anchor="ctr"/>
                <a:lstStyle/>
                <a:p>
                  <a:endParaRPr lang="de-DE"/>
                </a:p>
              </p:txBody>
            </p:sp>
          </p:grpSp>
          <p:grpSp>
            <p:nvGrpSpPr>
              <p:cNvPr id="445" name="Grafik 15">
                <a:extLst>
                  <a:ext uri="{FF2B5EF4-FFF2-40B4-BE49-F238E27FC236}">
                    <a16:creationId xmlns:a16="http://schemas.microsoft.com/office/drawing/2014/main" id="{59E53644-6B98-A9CB-8C44-4517A46A45BD}"/>
                  </a:ext>
                </a:extLst>
              </p:cNvPr>
              <p:cNvGrpSpPr/>
              <p:nvPr/>
            </p:nvGrpSpPr>
            <p:grpSpPr>
              <a:xfrm>
                <a:off x="6770496" y="3388391"/>
                <a:ext cx="132501" cy="16134"/>
                <a:chOff x="6770496" y="3388391"/>
                <a:chExt cx="132501" cy="16134"/>
              </a:xfrm>
              <a:solidFill>
                <a:srgbClr val="D40511"/>
              </a:solidFill>
            </p:grpSpPr>
            <p:sp>
              <p:nvSpPr>
                <p:cNvPr id="446" name="Freihandform 528">
                  <a:extLst>
                    <a:ext uri="{FF2B5EF4-FFF2-40B4-BE49-F238E27FC236}">
                      <a16:creationId xmlns:a16="http://schemas.microsoft.com/office/drawing/2014/main" id="{F632498A-8665-5D8F-F369-372DF55810DB}"/>
                    </a:ext>
                  </a:extLst>
                </p:cNvPr>
                <p:cNvSpPr/>
                <p:nvPr/>
              </p:nvSpPr>
              <p:spPr>
                <a:xfrm>
                  <a:off x="6770496" y="3388391"/>
                  <a:ext cx="51718" cy="16123"/>
                </a:xfrm>
                <a:custGeom>
                  <a:avLst/>
                  <a:gdLst>
                    <a:gd name="connsiteX0" fmla="*/ 6193 w 51718"/>
                    <a:gd name="connsiteY0" fmla="*/ 0 h 16123"/>
                    <a:gd name="connsiteX1" fmla="*/ 0 w 51718"/>
                    <a:gd name="connsiteY1" fmla="*/ 8390 h 16123"/>
                    <a:gd name="connsiteX2" fmla="*/ 33747 w 51718"/>
                    <a:gd name="connsiteY2" fmla="*/ 8390 h 16123"/>
                    <a:gd name="connsiteX3" fmla="*/ 34600 w 51718"/>
                    <a:gd name="connsiteY3" fmla="*/ 10159 h 16123"/>
                    <a:gd name="connsiteX4" fmla="*/ 31475 w 51718"/>
                    <a:gd name="connsiteY4" fmla="*/ 14456 h 16123"/>
                    <a:gd name="connsiteX5" fmla="*/ 32872 w 51718"/>
                    <a:gd name="connsiteY5" fmla="*/ 16123 h 16123"/>
                    <a:gd name="connsiteX6" fmla="*/ 46667 w 51718"/>
                    <a:gd name="connsiteY6" fmla="*/ 16123 h 16123"/>
                    <a:gd name="connsiteX7" fmla="*/ 50757 w 51718"/>
                    <a:gd name="connsiteY7" fmla="*/ 10579 h 16123"/>
                    <a:gd name="connsiteX8" fmla="*/ 41906 w 51718"/>
                    <a:gd name="connsiteY8" fmla="*/ 0 h 16123"/>
                    <a:gd name="connsiteX9" fmla="*/ 6193 w 51718"/>
                    <a:gd name="connsiteY9" fmla="*/ 0 h 1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18" h="16123">
                      <a:moveTo>
                        <a:pt x="6193" y="0"/>
                      </a:moveTo>
                      <a:lnTo>
                        <a:pt x="0" y="8390"/>
                      </a:lnTo>
                      <a:lnTo>
                        <a:pt x="33747" y="8390"/>
                      </a:lnTo>
                      <a:cubicBezTo>
                        <a:pt x="35452" y="8390"/>
                        <a:pt x="35429" y="9037"/>
                        <a:pt x="34600" y="10159"/>
                      </a:cubicBezTo>
                      <a:cubicBezTo>
                        <a:pt x="33747" y="11304"/>
                        <a:pt x="32338" y="13289"/>
                        <a:pt x="31475" y="14456"/>
                      </a:cubicBezTo>
                      <a:cubicBezTo>
                        <a:pt x="31032" y="15046"/>
                        <a:pt x="30248" y="16123"/>
                        <a:pt x="32872" y="16123"/>
                      </a:cubicBezTo>
                      <a:lnTo>
                        <a:pt x="46667" y="16123"/>
                      </a:lnTo>
                      <a:cubicBezTo>
                        <a:pt x="46667" y="16123"/>
                        <a:pt x="48894" y="13107"/>
                        <a:pt x="50757" y="10579"/>
                      </a:cubicBezTo>
                      <a:cubicBezTo>
                        <a:pt x="53291" y="7143"/>
                        <a:pt x="50973" y="0"/>
                        <a:pt x="41906" y="0"/>
                      </a:cubicBezTo>
                      <a:lnTo>
                        <a:pt x="6193" y="0"/>
                      </a:lnTo>
                      <a:close/>
                    </a:path>
                  </a:pathLst>
                </a:custGeom>
                <a:solidFill>
                  <a:srgbClr val="D40511"/>
                </a:solidFill>
                <a:ln w="1131" cap="flat">
                  <a:noFill/>
                  <a:prstDash val="solid"/>
                  <a:miter/>
                </a:ln>
              </p:spPr>
              <p:txBody>
                <a:bodyPr rtlCol="0" anchor="ctr"/>
                <a:lstStyle/>
                <a:p>
                  <a:endParaRPr lang="de-DE"/>
                </a:p>
              </p:txBody>
            </p:sp>
            <p:sp>
              <p:nvSpPr>
                <p:cNvPr id="447" name="Freihandform 529">
                  <a:extLst>
                    <a:ext uri="{FF2B5EF4-FFF2-40B4-BE49-F238E27FC236}">
                      <a16:creationId xmlns:a16="http://schemas.microsoft.com/office/drawing/2014/main" id="{432103A5-0C4C-222E-8287-F3C411D3E3B9}"/>
                    </a:ext>
                  </a:extLst>
                </p:cNvPr>
                <p:cNvSpPr/>
                <p:nvPr/>
              </p:nvSpPr>
              <p:spPr>
                <a:xfrm>
                  <a:off x="6822958" y="3388391"/>
                  <a:ext cx="55416" cy="16134"/>
                </a:xfrm>
                <a:custGeom>
                  <a:avLst/>
                  <a:gdLst>
                    <a:gd name="connsiteX0" fmla="*/ 43519 w 55416"/>
                    <a:gd name="connsiteY0" fmla="*/ 16134 h 16134"/>
                    <a:gd name="connsiteX1" fmla="*/ 0 w 55416"/>
                    <a:gd name="connsiteY1" fmla="*/ 16134 h 16134"/>
                    <a:gd name="connsiteX2" fmla="*/ 11897 w 55416"/>
                    <a:gd name="connsiteY2" fmla="*/ 0 h 16134"/>
                    <a:gd name="connsiteX3" fmla="*/ 29691 w 55416"/>
                    <a:gd name="connsiteY3" fmla="*/ 0 h 16134"/>
                    <a:gd name="connsiteX4" fmla="*/ 22873 w 55416"/>
                    <a:gd name="connsiteY4" fmla="*/ 9252 h 16134"/>
                    <a:gd name="connsiteX5" fmla="*/ 30804 w 55416"/>
                    <a:gd name="connsiteY5" fmla="*/ 9252 h 16134"/>
                    <a:gd name="connsiteX6" fmla="*/ 37633 w 55416"/>
                    <a:gd name="connsiteY6" fmla="*/ 0 h 16134"/>
                    <a:gd name="connsiteX7" fmla="*/ 55416 w 55416"/>
                    <a:gd name="connsiteY7" fmla="*/ 0 h 16134"/>
                    <a:gd name="connsiteX8" fmla="*/ 43519 w 55416"/>
                    <a:gd name="connsiteY8" fmla="*/ 16134 h 16134"/>
                    <a:gd name="connsiteX9" fmla="*/ 43519 w 55416"/>
                    <a:gd name="connsiteY9" fmla="*/ 16134 h 1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16" h="16134">
                      <a:moveTo>
                        <a:pt x="43519" y="16134"/>
                      </a:moveTo>
                      <a:lnTo>
                        <a:pt x="0" y="16134"/>
                      </a:lnTo>
                      <a:lnTo>
                        <a:pt x="11897" y="0"/>
                      </a:lnTo>
                      <a:lnTo>
                        <a:pt x="29691" y="0"/>
                      </a:lnTo>
                      <a:lnTo>
                        <a:pt x="22873" y="9252"/>
                      </a:lnTo>
                      <a:lnTo>
                        <a:pt x="30804" y="9252"/>
                      </a:lnTo>
                      <a:lnTo>
                        <a:pt x="37633" y="0"/>
                      </a:lnTo>
                      <a:lnTo>
                        <a:pt x="55416" y="0"/>
                      </a:lnTo>
                      <a:lnTo>
                        <a:pt x="43519" y="16134"/>
                      </a:lnTo>
                      <a:lnTo>
                        <a:pt x="43519" y="16134"/>
                      </a:lnTo>
                      <a:close/>
                    </a:path>
                  </a:pathLst>
                </a:custGeom>
                <a:solidFill>
                  <a:srgbClr val="D40511"/>
                </a:solidFill>
                <a:ln w="1131" cap="flat">
                  <a:noFill/>
                  <a:prstDash val="solid"/>
                  <a:miter/>
                </a:ln>
              </p:spPr>
              <p:txBody>
                <a:bodyPr rtlCol="0" anchor="ctr"/>
                <a:lstStyle/>
                <a:p>
                  <a:endParaRPr lang="de-DE"/>
                </a:p>
              </p:txBody>
            </p:sp>
            <p:sp>
              <p:nvSpPr>
                <p:cNvPr id="448" name="Freihandform 530">
                  <a:extLst>
                    <a:ext uri="{FF2B5EF4-FFF2-40B4-BE49-F238E27FC236}">
                      <a16:creationId xmlns:a16="http://schemas.microsoft.com/office/drawing/2014/main" id="{F45B66C0-984B-39B1-F75D-13FA460842F0}"/>
                    </a:ext>
                  </a:extLst>
                </p:cNvPr>
                <p:cNvSpPr/>
                <p:nvPr/>
              </p:nvSpPr>
              <p:spPr>
                <a:xfrm>
                  <a:off x="6872250" y="3388391"/>
                  <a:ext cx="30747" cy="16123"/>
                </a:xfrm>
                <a:custGeom>
                  <a:avLst/>
                  <a:gdLst>
                    <a:gd name="connsiteX0" fmla="*/ 30748 w 30747"/>
                    <a:gd name="connsiteY0" fmla="*/ 0 h 16123"/>
                    <a:gd name="connsiteX1" fmla="*/ 18851 w 30747"/>
                    <a:gd name="connsiteY1" fmla="*/ 16123 h 16123"/>
                    <a:gd name="connsiteX2" fmla="*/ 0 w 30747"/>
                    <a:gd name="connsiteY2" fmla="*/ 16123 h 16123"/>
                    <a:gd name="connsiteX3" fmla="*/ 11908 w 30747"/>
                    <a:gd name="connsiteY3" fmla="*/ 0 h 16123"/>
                    <a:gd name="connsiteX4" fmla="*/ 30748 w 30747"/>
                    <a:gd name="connsiteY4" fmla="*/ 0 h 16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7" h="16123">
                      <a:moveTo>
                        <a:pt x="30748" y="0"/>
                      </a:moveTo>
                      <a:lnTo>
                        <a:pt x="18851" y="16123"/>
                      </a:lnTo>
                      <a:lnTo>
                        <a:pt x="0" y="16123"/>
                      </a:lnTo>
                      <a:cubicBezTo>
                        <a:pt x="0" y="16123"/>
                        <a:pt x="11897" y="0"/>
                        <a:pt x="11908" y="0"/>
                      </a:cubicBezTo>
                      <a:lnTo>
                        <a:pt x="30748" y="0"/>
                      </a:lnTo>
                      <a:close/>
                    </a:path>
                  </a:pathLst>
                </a:custGeom>
                <a:solidFill>
                  <a:srgbClr val="D40511"/>
                </a:solidFill>
                <a:ln w="1131" cap="flat">
                  <a:noFill/>
                  <a:prstDash val="solid"/>
                  <a:miter/>
                </a:ln>
              </p:spPr>
              <p:txBody>
                <a:bodyPr rtlCol="0" anchor="ctr"/>
                <a:lstStyle/>
                <a:p>
                  <a:endParaRPr lang="de-DE"/>
                </a:p>
              </p:txBody>
            </p:sp>
          </p:grpSp>
        </p:grpSp>
        <p:sp>
          <p:nvSpPr>
            <p:cNvPr id="166" name="Freihandform 33">
              <a:extLst>
                <a:ext uri="{FF2B5EF4-FFF2-40B4-BE49-F238E27FC236}">
                  <a16:creationId xmlns:a16="http://schemas.microsoft.com/office/drawing/2014/main" id="{01F50061-9EA0-EB6F-EDED-8F27B465E94A}"/>
                </a:ext>
              </a:extLst>
            </p:cNvPr>
            <p:cNvSpPr/>
            <p:nvPr/>
          </p:nvSpPr>
          <p:spPr>
            <a:xfrm>
              <a:off x="6028553" y="3496457"/>
              <a:ext cx="1035841" cy="107442"/>
            </a:xfrm>
            <a:custGeom>
              <a:avLst/>
              <a:gdLst>
                <a:gd name="connsiteX0" fmla="*/ 0 w 1035841"/>
                <a:gd name="connsiteY0" fmla="*/ 0 h 107442"/>
                <a:gd name="connsiteX1" fmla="*/ 1035842 w 1035841"/>
                <a:gd name="connsiteY1" fmla="*/ 0 h 107442"/>
                <a:gd name="connsiteX2" fmla="*/ 1035842 w 1035841"/>
                <a:gd name="connsiteY2" fmla="*/ 107442 h 107442"/>
                <a:gd name="connsiteX3" fmla="*/ 0 w 1035841"/>
                <a:gd name="connsiteY3" fmla="*/ 107442 h 107442"/>
              </a:gdLst>
              <a:ahLst/>
              <a:cxnLst>
                <a:cxn ang="0">
                  <a:pos x="connsiteX0" y="connsiteY0"/>
                </a:cxn>
                <a:cxn ang="0">
                  <a:pos x="connsiteX1" y="connsiteY1"/>
                </a:cxn>
                <a:cxn ang="0">
                  <a:pos x="connsiteX2" y="connsiteY2"/>
                </a:cxn>
                <a:cxn ang="0">
                  <a:pos x="connsiteX3" y="connsiteY3"/>
                </a:cxn>
              </a:cxnLst>
              <a:rect l="l" t="t" r="r" b="b"/>
              <a:pathLst>
                <a:path w="1035841" h="107442">
                  <a:moveTo>
                    <a:pt x="0" y="0"/>
                  </a:moveTo>
                  <a:lnTo>
                    <a:pt x="1035842" y="0"/>
                  </a:lnTo>
                  <a:lnTo>
                    <a:pt x="1035842" y="107442"/>
                  </a:lnTo>
                  <a:lnTo>
                    <a:pt x="0" y="107442"/>
                  </a:lnTo>
                  <a:close/>
                </a:path>
              </a:pathLst>
            </a:custGeom>
            <a:solidFill>
              <a:srgbClr val="E1E1E2"/>
            </a:solidFill>
            <a:ln w="1131" cap="flat">
              <a:noFill/>
              <a:prstDash val="solid"/>
              <a:miter/>
            </a:ln>
          </p:spPr>
          <p:txBody>
            <a:bodyPr rtlCol="0" anchor="ctr"/>
            <a:lstStyle/>
            <a:p>
              <a:endParaRPr lang="de-DE"/>
            </a:p>
          </p:txBody>
        </p:sp>
        <p:sp>
          <p:nvSpPr>
            <p:cNvPr id="167" name="Freihandform 34">
              <a:extLst>
                <a:ext uri="{FF2B5EF4-FFF2-40B4-BE49-F238E27FC236}">
                  <a16:creationId xmlns:a16="http://schemas.microsoft.com/office/drawing/2014/main" id="{FBC3A382-A611-8046-EDE7-6B89FBF26B3C}"/>
                </a:ext>
              </a:extLst>
            </p:cNvPr>
            <p:cNvSpPr/>
            <p:nvPr/>
          </p:nvSpPr>
          <p:spPr>
            <a:xfrm>
              <a:off x="6028553" y="3603911"/>
              <a:ext cx="1224000" cy="53721"/>
            </a:xfrm>
            <a:custGeom>
              <a:avLst/>
              <a:gdLst>
                <a:gd name="connsiteX0" fmla="*/ 0 w 1511896"/>
                <a:gd name="connsiteY0" fmla="*/ 0 h 53721"/>
                <a:gd name="connsiteX1" fmla="*/ 1511896 w 1511896"/>
                <a:gd name="connsiteY1" fmla="*/ 0 h 53721"/>
                <a:gd name="connsiteX2" fmla="*/ 1511896 w 1511896"/>
                <a:gd name="connsiteY2" fmla="*/ 53721 h 53721"/>
                <a:gd name="connsiteX3" fmla="*/ 0 w 1511896"/>
                <a:gd name="connsiteY3" fmla="*/ 53721 h 53721"/>
              </a:gdLst>
              <a:ahLst/>
              <a:cxnLst>
                <a:cxn ang="0">
                  <a:pos x="connsiteX0" y="connsiteY0"/>
                </a:cxn>
                <a:cxn ang="0">
                  <a:pos x="connsiteX1" y="connsiteY1"/>
                </a:cxn>
                <a:cxn ang="0">
                  <a:pos x="connsiteX2" y="connsiteY2"/>
                </a:cxn>
                <a:cxn ang="0">
                  <a:pos x="connsiteX3" y="connsiteY3"/>
                </a:cxn>
              </a:cxnLst>
              <a:rect l="l" t="t" r="r" b="b"/>
              <a:pathLst>
                <a:path w="1511896" h="53721">
                  <a:moveTo>
                    <a:pt x="0" y="0"/>
                  </a:moveTo>
                  <a:lnTo>
                    <a:pt x="1511896" y="0"/>
                  </a:lnTo>
                  <a:lnTo>
                    <a:pt x="1511896" y="53721"/>
                  </a:lnTo>
                  <a:lnTo>
                    <a:pt x="0" y="53721"/>
                  </a:lnTo>
                  <a:close/>
                </a:path>
              </a:pathLst>
            </a:custGeom>
            <a:solidFill>
              <a:srgbClr val="C3C3C4"/>
            </a:solidFill>
            <a:ln w="1131" cap="flat">
              <a:noFill/>
              <a:prstDash val="solid"/>
              <a:miter/>
            </a:ln>
          </p:spPr>
          <p:txBody>
            <a:bodyPr rtlCol="0" anchor="ctr"/>
            <a:lstStyle/>
            <a:p>
              <a:endParaRPr lang="de-DE"/>
            </a:p>
          </p:txBody>
        </p:sp>
        <p:sp>
          <p:nvSpPr>
            <p:cNvPr id="168" name="Freihandform 35">
              <a:extLst>
                <a:ext uri="{FF2B5EF4-FFF2-40B4-BE49-F238E27FC236}">
                  <a16:creationId xmlns:a16="http://schemas.microsoft.com/office/drawing/2014/main" id="{B2A84DD4-CA7F-588A-1963-17013C9E0420}"/>
                </a:ext>
              </a:extLst>
            </p:cNvPr>
            <p:cNvSpPr/>
            <p:nvPr/>
          </p:nvSpPr>
          <p:spPr>
            <a:xfrm>
              <a:off x="6028553" y="3462975"/>
              <a:ext cx="969528" cy="36203"/>
            </a:xfrm>
            <a:custGeom>
              <a:avLst/>
              <a:gdLst>
                <a:gd name="connsiteX0" fmla="*/ 0 w 969528"/>
                <a:gd name="connsiteY0" fmla="*/ 0 h 36203"/>
                <a:gd name="connsiteX1" fmla="*/ 969529 w 969528"/>
                <a:gd name="connsiteY1" fmla="*/ 0 h 36203"/>
                <a:gd name="connsiteX2" fmla="*/ 969529 w 969528"/>
                <a:gd name="connsiteY2" fmla="*/ 36203 h 36203"/>
                <a:gd name="connsiteX3" fmla="*/ 0 w 969528"/>
                <a:gd name="connsiteY3" fmla="*/ 36203 h 36203"/>
              </a:gdLst>
              <a:ahLst/>
              <a:cxnLst>
                <a:cxn ang="0">
                  <a:pos x="connsiteX0" y="connsiteY0"/>
                </a:cxn>
                <a:cxn ang="0">
                  <a:pos x="connsiteX1" y="connsiteY1"/>
                </a:cxn>
                <a:cxn ang="0">
                  <a:pos x="connsiteX2" y="connsiteY2"/>
                </a:cxn>
                <a:cxn ang="0">
                  <a:pos x="connsiteX3" y="connsiteY3"/>
                </a:cxn>
              </a:cxnLst>
              <a:rect l="l" t="t" r="r" b="b"/>
              <a:pathLst>
                <a:path w="969528" h="36203">
                  <a:moveTo>
                    <a:pt x="0" y="0"/>
                  </a:moveTo>
                  <a:lnTo>
                    <a:pt x="969529" y="0"/>
                  </a:lnTo>
                  <a:lnTo>
                    <a:pt x="969529" y="36203"/>
                  </a:lnTo>
                  <a:lnTo>
                    <a:pt x="0" y="36203"/>
                  </a:lnTo>
                  <a:close/>
                </a:path>
              </a:pathLst>
            </a:custGeom>
            <a:solidFill>
              <a:srgbClr val="7A7A79"/>
            </a:solidFill>
            <a:ln w="1131" cap="flat">
              <a:noFill/>
              <a:prstDash val="solid"/>
              <a:miter/>
            </a:ln>
          </p:spPr>
          <p:txBody>
            <a:bodyPr rtlCol="0" anchor="ctr"/>
            <a:lstStyle/>
            <a:p>
              <a:endParaRPr lang="de-DE"/>
            </a:p>
          </p:txBody>
        </p:sp>
        <p:grpSp>
          <p:nvGrpSpPr>
            <p:cNvPr id="169" name="Grafik 15">
              <a:extLst>
                <a:ext uri="{FF2B5EF4-FFF2-40B4-BE49-F238E27FC236}">
                  <a16:creationId xmlns:a16="http://schemas.microsoft.com/office/drawing/2014/main" id="{E8487428-CD25-DB08-45F0-93D0344BCD0D}"/>
                </a:ext>
              </a:extLst>
            </p:cNvPr>
            <p:cNvGrpSpPr/>
            <p:nvPr/>
          </p:nvGrpSpPr>
          <p:grpSpPr>
            <a:xfrm>
              <a:off x="6028553" y="3466637"/>
              <a:ext cx="168419" cy="32688"/>
              <a:chOff x="6028553" y="3466637"/>
              <a:chExt cx="168419" cy="32688"/>
            </a:xfrm>
            <a:solidFill>
              <a:srgbClr val="D5EEF9"/>
            </a:solidFill>
          </p:grpSpPr>
          <p:sp>
            <p:nvSpPr>
              <p:cNvPr id="437" name="Freihandform 519">
                <a:extLst>
                  <a:ext uri="{FF2B5EF4-FFF2-40B4-BE49-F238E27FC236}">
                    <a16:creationId xmlns:a16="http://schemas.microsoft.com/office/drawing/2014/main" id="{519B355B-D9BA-D0F8-81B5-429E1599DBD3}"/>
                  </a:ext>
                </a:extLst>
              </p:cNvPr>
              <p:cNvSpPr/>
              <p:nvPr/>
            </p:nvSpPr>
            <p:spPr>
              <a:xfrm>
                <a:off x="608940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8" name="Freihandform 520">
                <a:extLst>
                  <a:ext uri="{FF2B5EF4-FFF2-40B4-BE49-F238E27FC236}">
                    <a16:creationId xmlns:a16="http://schemas.microsoft.com/office/drawing/2014/main" id="{64DA3563-FA79-88D1-36EB-EE0784CE8EE7}"/>
                  </a:ext>
                </a:extLst>
              </p:cNvPr>
              <p:cNvSpPr/>
              <p:nvPr/>
            </p:nvSpPr>
            <p:spPr>
              <a:xfrm>
                <a:off x="6117182"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9" name="Freihandform 521">
                <a:extLst>
                  <a:ext uri="{FF2B5EF4-FFF2-40B4-BE49-F238E27FC236}">
                    <a16:creationId xmlns:a16="http://schemas.microsoft.com/office/drawing/2014/main" id="{397DC3BE-46B3-E9DA-0546-306BDF61D2B7}"/>
                  </a:ext>
                </a:extLst>
              </p:cNvPr>
              <p:cNvSpPr/>
              <p:nvPr/>
            </p:nvSpPr>
            <p:spPr>
              <a:xfrm>
                <a:off x="6028553" y="3466637"/>
                <a:ext cx="19953" cy="32688"/>
              </a:xfrm>
              <a:custGeom>
                <a:avLst/>
                <a:gdLst>
                  <a:gd name="connsiteX0" fmla="*/ 0 w 19953"/>
                  <a:gd name="connsiteY0" fmla="*/ 0 h 32688"/>
                  <a:gd name="connsiteX1" fmla="*/ 19953 w 19953"/>
                  <a:gd name="connsiteY1" fmla="*/ 0 h 32688"/>
                  <a:gd name="connsiteX2" fmla="*/ 19953 w 19953"/>
                  <a:gd name="connsiteY2" fmla="*/ 32688 h 32688"/>
                  <a:gd name="connsiteX3" fmla="*/ 0 w 19953"/>
                  <a:gd name="connsiteY3" fmla="*/ 32688 h 32688"/>
                </a:gdLst>
                <a:ahLst/>
                <a:cxnLst>
                  <a:cxn ang="0">
                    <a:pos x="connsiteX0" y="connsiteY0"/>
                  </a:cxn>
                  <a:cxn ang="0">
                    <a:pos x="connsiteX1" y="connsiteY1"/>
                  </a:cxn>
                  <a:cxn ang="0">
                    <a:pos x="connsiteX2" y="connsiteY2"/>
                  </a:cxn>
                  <a:cxn ang="0">
                    <a:pos x="connsiteX3" y="connsiteY3"/>
                  </a:cxn>
                </a:cxnLst>
                <a:rect l="l" t="t" r="r" b="b"/>
                <a:pathLst>
                  <a:path w="19953" h="32688">
                    <a:moveTo>
                      <a:pt x="0" y="0"/>
                    </a:moveTo>
                    <a:lnTo>
                      <a:pt x="19953" y="0"/>
                    </a:lnTo>
                    <a:lnTo>
                      <a:pt x="19953"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40" name="Freihandform 522">
                <a:extLst>
                  <a:ext uri="{FF2B5EF4-FFF2-40B4-BE49-F238E27FC236}">
                    <a16:creationId xmlns:a16="http://schemas.microsoft.com/office/drawing/2014/main" id="{BE94F505-7E9C-AD6D-1C50-E22E277AF140}"/>
                  </a:ext>
                </a:extLst>
              </p:cNvPr>
              <p:cNvSpPr/>
              <p:nvPr/>
            </p:nvSpPr>
            <p:spPr>
              <a:xfrm>
                <a:off x="6052039"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41" name="Freihandform 523">
                <a:extLst>
                  <a:ext uri="{FF2B5EF4-FFF2-40B4-BE49-F238E27FC236}">
                    <a16:creationId xmlns:a16="http://schemas.microsoft.com/office/drawing/2014/main" id="{B12A4D20-93D5-941E-A85D-80ED509D3113}"/>
                  </a:ext>
                </a:extLst>
              </p:cNvPr>
              <p:cNvSpPr/>
              <p:nvPr/>
            </p:nvSpPr>
            <p:spPr>
              <a:xfrm>
                <a:off x="6144953"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42" name="Freihandform 524">
                <a:extLst>
                  <a:ext uri="{FF2B5EF4-FFF2-40B4-BE49-F238E27FC236}">
                    <a16:creationId xmlns:a16="http://schemas.microsoft.com/office/drawing/2014/main" id="{A95E8231-0783-E53A-92A4-C3C841A13DB9}"/>
                  </a:ext>
                </a:extLst>
              </p:cNvPr>
              <p:cNvSpPr/>
              <p:nvPr/>
            </p:nvSpPr>
            <p:spPr>
              <a:xfrm>
                <a:off x="6172735"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0" name="Grafik 15">
              <a:extLst>
                <a:ext uri="{FF2B5EF4-FFF2-40B4-BE49-F238E27FC236}">
                  <a16:creationId xmlns:a16="http://schemas.microsoft.com/office/drawing/2014/main" id="{D6AB1252-B487-EC3D-ACF2-E073861F2F21}"/>
                </a:ext>
              </a:extLst>
            </p:cNvPr>
            <p:cNvGrpSpPr/>
            <p:nvPr/>
          </p:nvGrpSpPr>
          <p:grpSpPr>
            <a:xfrm>
              <a:off x="6211380" y="3466637"/>
              <a:ext cx="107560" cy="32688"/>
              <a:chOff x="6211380" y="3466637"/>
              <a:chExt cx="107560" cy="32688"/>
            </a:xfrm>
            <a:solidFill>
              <a:srgbClr val="D5EEF9"/>
            </a:solidFill>
          </p:grpSpPr>
          <p:sp>
            <p:nvSpPr>
              <p:cNvPr id="433" name="Freihandform 515">
                <a:extLst>
                  <a:ext uri="{FF2B5EF4-FFF2-40B4-BE49-F238E27FC236}">
                    <a16:creationId xmlns:a16="http://schemas.microsoft.com/office/drawing/2014/main" id="{2F1146FD-F75D-98A0-FD35-EE370D42C863}"/>
                  </a:ext>
                </a:extLst>
              </p:cNvPr>
              <p:cNvSpPr/>
              <p:nvPr/>
            </p:nvSpPr>
            <p:spPr>
              <a:xfrm>
                <a:off x="621138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4" name="Freihandform 516">
                <a:extLst>
                  <a:ext uri="{FF2B5EF4-FFF2-40B4-BE49-F238E27FC236}">
                    <a16:creationId xmlns:a16="http://schemas.microsoft.com/office/drawing/2014/main" id="{3F10C3A5-7F0B-5E22-E0D6-47882BFBCB3A}"/>
                  </a:ext>
                </a:extLst>
              </p:cNvPr>
              <p:cNvSpPr/>
              <p:nvPr/>
            </p:nvSpPr>
            <p:spPr>
              <a:xfrm>
                <a:off x="623915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5" name="Freihandform 517">
                <a:extLst>
                  <a:ext uri="{FF2B5EF4-FFF2-40B4-BE49-F238E27FC236}">
                    <a16:creationId xmlns:a16="http://schemas.microsoft.com/office/drawing/2014/main" id="{133C3AC4-212A-6694-732C-BF7D6C24CC74}"/>
                  </a:ext>
                </a:extLst>
              </p:cNvPr>
              <p:cNvSpPr/>
              <p:nvPr/>
            </p:nvSpPr>
            <p:spPr>
              <a:xfrm>
                <a:off x="6266932"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6" name="Freihandform 518">
                <a:extLst>
                  <a:ext uri="{FF2B5EF4-FFF2-40B4-BE49-F238E27FC236}">
                    <a16:creationId xmlns:a16="http://schemas.microsoft.com/office/drawing/2014/main" id="{734D3372-FD23-85B2-C0B2-43EC986FE932}"/>
                  </a:ext>
                </a:extLst>
              </p:cNvPr>
              <p:cNvSpPr/>
              <p:nvPr/>
            </p:nvSpPr>
            <p:spPr>
              <a:xfrm>
                <a:off x="6294703"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1" name="Grafik 15">
              <a:extLst>
                <a:ext uri="{FF2B5EF4-FFF2-40B4-BE49-F238E27FC236}">
                  <a16:creationId xmlns:a16="http://schemas.microsoft.com/office/drawing/2014/main" id="{9ACE16E1-776B-417E-3C25-A03DD8E8D0B5}"/>
                </a:ext>
              </a:extLst>
            </p:cNvPr>
            <p:cNvGrpSpPr/>
            <p:nvPr/>
          </p:nvGrpSpPr>
          <p:grpSpPr>
            <a:xfrm>
              <a:off x="6333348" y="3466637"/>
              <a:ext cx="107571" cy="32688"/>
              <a:chOff x="6333348" y="3466637"/>
              <a:chExt cx="107571" cy="32688"/>
            </a:xfrm>
            <a:solidFill>
              <a:srgbClr val="D5EEF9"/>
            </a:solidFill>
          </p:grpSpPr>
          <p:sp>
            <p:nvSpPr>
              <p:cNvPr id="429" name="Freihandform 511">
                <a:extLst>
                  <a:ext uri="{FF2B5EF4-FFF2-40B4-BE49-F238E27FC236}">
                    <a16:creationId xmlns:a16="http://schemas.microsoft.com/office/drawing/2014/main" id="{1FB72A1E-1B85-4CE4-8A86-F6FDA2AC7ADE}"/>
                  </a:ext>
                </a:extLst>
              </p:cNvPr>
              <p:cNvSpPr/>
              <p:nvPr/>
            </p:nvSpPr>
            <p:spPr>
              <a:xfrm>
                <a:off x="6333348"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0" name="Freihandform 512">
                <a:extLst>
                  <a:ext uri="{FF2B5EF4-FFF2-40B4-BE49-F238E27FC236}">
                    <a16:creationId xmlns:a16="http://schemas.microsoft.com/office/drawing/2014/main" id="{07651EBF-6F7D-054E-2870-16103048D1D4}"/>
                  </a:ext>
                </a:extLst>
              </p:cNvPr>
              <p:cNvSpPr/>
              <p:nvPr/>
            </p:nvSpPr>
            <p:spPr>
              <a:xfrm>
                <a:off x="6361129"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1" name="Freihandform 513">
                <a:extLst>
                  <a:ext uri="{FF2B5EF4-FFF2-40B4-BE49-F238E27FC236}">
                    <a16:creationId xmlns:a16="http://schemas.microsoft.com/office/drawing/2014/main" id="{4B1258A1-7732-D10B-5770-9B0D50D3B17A}"/>
                  </a:ext>
                </a:extLst>
              </p:cNvPr>
              <p:cNvSpPr/>
              <p:nvPr/>
            </p:nvSpPr>
            <p:spPr>
              <a:xfrm>
                <a:off x="638890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32" name="Freihandform 514">
                <a:extLst>
                  <a:ext uri="{FF2B5EF4-FFF2-40B4-BE49-F238E27FC236}">
                    <a16:creationId xmlns:a16="http://schemas.microsoft.com/office/drawing/2014/main" id="{DA8C20AE-8956-9F1B-0E2B-FB13BBA5F257}"/>
                  </a:ext>
                </a:extLst>
              </p:cNvPr>
              <p:cNvSpPr/>
              <p:nvPr/>
            </p:nvSpPr>
            <p:spPr>
              <a:xfrm>
                <a:off x="6416682"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2" name="Grafik 15">
              <a:extLst>
                <a:ext uri="{FF2B5EF4-FFF2-40B4-BE49-F238E27FC236}">
                  <a16:creationId xmlns:a16="http://schemas.microsoft.com/office/drawing/2014/main" id="{46407390-37C8-85F8-B178-EE2D73853077}"/>
                </a:ext>
              </a:extLst>
            </p:cNvPr>
            <p:cNvGrpSpPr/>
            <p:nvPr/>
          </p:nvGrpSpPr>
          <p:grpSpPr>
            <a:xfrm>
              <a:off x="6455316" y="3466637"/>
              <a:ext cx="107571" cy="32688"/>
              <a:chOff x="6455316" y="3466637"/>
              <a:chExt cx="107571" cy="32688"/>
            </a:xfrm>
            <a:solidFill>
              <a:srgbClr val="D5EEF9"/>
            </a:solidFill>
          </p:grpSpPr>
          <p:sp>
            <p:nvSpPr>
              <p:cNvPr id="425" name="Freihandform 507">
                <a:extLst>
                  <a:ext uri="{FF2B5EF4-FFF2-40B4-BE49-F238E27FC236}">
                    <a16:creationId xmlns:a16="http://schemas.microsoft.com/office/drawing/2014/main" id="{412CBDC7-FECD-B151-3BC1-2CB5E497C3BF}"/>
                  </a:ext>
                </a:extLst>
              </p:cNvPr>
              <p:cNvSpPr/>
              <p:nvPr/>
            </p:nvSpPr>
            <p:spPr>
              <a:xfrm>
                <a:off x="6455316"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6" name="Freihandform 508">
                <a:extLst>
                  <a:ext uri="{FF2B5EF4-FFF2-40B4-BE49-F238E27FC236}">
                    <a16:creationId xmlns:a16="http://schemas.microsoft.com/office/drawing/2014/main" id="{79F9BEC3-812D-0470-8079-1BE85ADA23F5}"/>
                  </a:ext>
                </a:extLst>
              </p:cNvPr>
              <p:cNvSpPr/>
              <p:nvPr/>
            </p:nvSpPr>
            <p:spPr>
              <a:xfrm>
                <a:off x="6483097"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7" name="Freihandform 509">
                <a:extLst>
                  <a:ext uri="{FF2B5EF4-FFF2-40B4-BE49-F238E27FC236}">
                    <a16:creationId xmlns:a16="http://schemas.microsoft.com/office/drawing/2014/main" id="{4635CFB4-31E2-5510-1138-2859A0A681DB}"/>
                  </a:ext>
                </a:extLst>
              </p:cNvPr>
              <p:cNvSpPr/>
              <p:nvPr/>
            </p:nvSpPr>
            <p:spPr>
              <a:xfrm>
                <a:off x="6510879"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8" name="Freihandform 510">
                <a:extLst>
                  <a:ext uri="{FF2B5EF4-FFF2-40B4-BE49-F238E27FC236}">
                    <a16:creationId xmlns:a16="http://schemas.microsoft.com/office/drawing/2014/main" id="{71F8D4DA-BD11-2FC8-37AD-85103440EB0C}"/>
                  </a:ext>
                </a:extLst>
              </p:cNvPr>
              <p:cNvSpPr/>
              <p:nvPr/>
            </p:nvSpPr>
            <p:spPr>
              <a:xfrm>
                <a:off x="653865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3" name="Grafik 15">
              <a:extLst>
                <a:ext uri="{FF2B5EF4-FFF2-40B4-BE49-F238E27FC236}">
                  <a16:creationId xmlns:a16="http://schemas.microsoft.com/office/drawing/2014/main" id="{FACFC9C9-08A8-F541-9E97-5C31EF8748E6}"/>
                </a:ext>
              </a:extLst>
            </p:cNvPr>
            <p:cNvGrpSpPr/>
            <p:nvPr/>
          </p:nvGrpSpPr>
          <p:grpSpPr>
            <a:xfrm>
              <a:off x="6577295" y="3466637"/>
              <a:ext cx="107571" cy="32688"/>
              <a:chOff x="6577295" y="3466637"/>
              <a:chExt cx="107571" cy="32688"/>
            </a:xfrm>
            <a:solidFill>
              <a:srgbClr val="D5EEF9"/>
            </a:solidFill>
          </p:grpSpPr>
          <p:sp>
            <p:nvSpPr>
              <p:cNvPr id="421" name="Freihandform 503">
                <a:extLst>
                  <a:ext uri="{FF2B5EF4-FFF2-40B4-BE49-F238E27FC236}">
                    <a16:creationId xmlns:a16="http://schemas.microsoft.com/office/drawing/2014/main" id="{A7326AAA-6CD4-FF08-0477-5B3717442FC5}"/>
                  </a:ext>
                </a:extLst>
              </p:cNvPr>
              <p:cNvSpPr/>
              <p:nvPr/>
            </p:nvSpPr>
            <p:spPr>
              <a:xfrm>
                <a:off x="6577295"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2" name="Freihandform 504">
                <a:extLst>
                  <a:ext uri="{FF2B5EF4-FFF2-40B4-BE49-F238E27FC236}">
                    <a16:creationId xmlns:a16="http://schemas.microsoft.com/office/drawing/2014/main" id="{CCEFF9DC-6D56-2F8E-CB0A-4C48A3347BD2}"/>
                  </a:ext>
                </a:extLst>
              </p:cNvPr>
              <p:cNvSpPr/>
              <p:nvPr/>
            </p:nvSpPr>
            <p:spPr>
              <a:xfrm>
                <a:off x="6605065"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3" name="Freihandform 505">
                <a:extLst>
                  <a:ext uri="{FF2B5EF4-FFF2-40B4-BE49-F238E27FC236}">
                    <a16:creationId xmlns:a16="http://schemas.microsoft.com/office/drawing/2014/main" id="{15A87AED-54D7-8003-4AD2-6B1020017645}"/>
                  </a:ext>
                </a:extLst>
              </p:cNvPr>
              <p:cNvSpPr/>
              <p:nvPr/>
            </p:nvSpPr>
            <p:spPr>
              <a:xfrm>
                <a:off x="6632847"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4" name="Freihandform 506">
                <a:extLst>
                  <a:ext uri="{FF2B5EF4-FFF2-40B4-BE49-F238E27FC236}">
                    <a16:creationId xmlns:a16="http://schemas.microsoft.com/office/drawing/2014/main" id="{F5058981-14D1-7572-107A-24A4ACDCFCE2}"/>
                  </a:ext>
                </a:extLst>
              </p:cNvPr>
              <p:cNvSpPr/>
              <p:nvPr/>
            </p:nvSpPr>
            <p:spPr>
              <a:xfrm>
                <a:off x="6660629"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4" name="Grafik 15">
              <a:extLst>
                <a:ext uri="{FF2B5EF4-FFF2-40B4-BE49-F238E27FC236}">
                  <a16:creationId xmlns:a16="http://schemas.microsoft.com/office/drawing/2014/main" id="{1307C17E-F545-E128-08F4-9D316401BBF7}"/>
                </a:ext>
              </a:extLst>
            </p:cNvPr>
            <p:cNvGrpSpPr/>
            <p:nvPr/>
          </p:nvGrpSpPr>
          <p:grpSpPr>
            <a:xfrm>
              <a:off x="6699263" y="3466637"/>
              <a:ext cx="107571" cy="32688"/>
              <a:chOff x="6699263" y="3466637"/>
              <a:chExt cx="107571" cy="32688"/>
            </a:xfrm>
            <a:solidFill>
              <a:srgbClr val="D5EEF9"/>
            </a:solidFill>
          </p:grpSpPr>
          <p:sp>
            <p:nvSpPr>
              <p:cNvPr id="417" name="Freihandform 499">
                <a:extLst>
                  <a:ext uri="{FF2B5EF4-FFF2-40B4-BE49-F238E27FC236}">
                    <a16:creationId xmlns:a16="http://schemas.microsoft.com/office/drawing/2014/main" id="{4FA06F2C-482E-B7ED-6F48-9C8721B2641C}"/>
                  </a:ext>
                </a:extLst>
              </p:cNvPr>
              <p:cNvSpPr/>
              <p:nvPr/>
            </p:nvSpPr>
            <p:spPr>
              <a:xfrm>
                <a:off x="6699263"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8" name="Freihandform 500">
                <a:extLst>
                  <a:ext uri="{FF2B5EF4-FFF2-40B4-BE49-F238E27FC236}">
                    <a16:creationId xmlns:a16="http://schemas.microsoft.com/office/drawing/2014/main" id="{B5F332E8-6B18-B15D-5C0D-9BC1AE2DB3F4}"/>
                  </a:ext>
                </a:extLst>
              </p:cNvPr>
              <p:cNvSpPr/>
              <p:nvPr/>
            </p:nvSpPr>
            <p:spPr>
              <a:xfrm>
                <a:off x="6727045"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9" name="Freihandform 501">
                <a:extLst>
                  <a:ext uri="{FF2B5EF4-FFF2-40B4-BE49-F238E27FC236}">
                    <a16:creationId xmlns:a16="http://schemas.microsoft.com/office/drawing/2014/main" id="{F72C4670-4E7E-C47E-BE00-9701F33F4D00}"/>
                  </a:ext>
                </a:extLst>
              </p:cNvPr>
              <p:cNvSpPr/>
              <p:nvPr/>
            </p:nvSpPr>
            <p:spPr>
              <a:xfrm>
                <a:off x="6754827"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20" name="Freihandform 502">
                <a:extLst>
                  <a:ext uri="{FF2B5EF4-FFF2-40B4-BE49-F238E27FC236}">
                    <a16:creationId xmlns:a16="http://schemas.microsoft.com/office/drawing/2014/main" id="{3084CBE3-9B45-D199-BC2E-9B6EF058880F}"/>
                  </a:ext>
                </a:extLst>
              </p:cNvPr>
              <p:cNvSpPr/>
              <p:nvPr/>
            </p:nvSpPr>
            <p:spPr>
              <a:xfrm>
                <a:off x="6782597"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5" name="Grafik 15">
              <a:extLst>
                <a:ext uri="{FF2B5EF4-FFF2-40B4-BE49-F238E27FC236}">
                  <a16:creationId xmlns:a16="http://schemas.microsoft.com/office/drawing/2014/main" id="{2D814F61-DD13-B277-5387-EED7F39B6A54}"/>
                </a:ext>
              </a:extLst>
            </p:cNvPr>
            <p:cNvGrpSpPr/>
            <p:nvPr/>
          </p:nvGrpSpPr>
          <p:grpSpPr>
            <a:xfrm>
              <a:off x="6821242" y="3466637"/>
              <a:ext cx="107571" cy="32688"/>
              <a:chOff x="6821242" y="3466637"/>
              <a:chExt cx="107571" cy="32688"/>
            </a:xfrm>
            <a:solidFill>
              <a:srgbClr val="D5EEF9"/>
            </a:solidFill>
          </p:grpSpPr>
          <p:sp>
            <p:nvSpPr>
              <p:cNvPr id="413" name="Freihandform 495">
                <a:extLst>
                  <a:ext uri="{FF2B5EF4-FFF2-40B4-BE49-F238E27FC236}">
                    <a16:creationId xmlns:a16="http://schemas.microsoft.com/office/drawing/2014/main" id="{7CF393BC-3475-C4EB-66FF-09D8E299E736}"/>
                  </a:ext>
                </a:extLst>
              </p:cNvPr>
              <p:cNvSpPr/>
              <p:nvPr/>
            </p:nvSpPr>
            <p:spPr>
              <a:xfrm>
                <a:off x="6821242"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4" name="Freihandform 496">
                <a:extLst>
                  <a:ext uri="{FF2B5EF4-FFF2-40B4-BE49-F238E27FC236}">
                    <a16:creationId xmlns:a16="http://schemas.microsoft.com/office/drawing/2014/main" id="{5214DFBD-B58A-F9C7-F103-AFC21B1FD61F}"/>
                  </a:ext>
                </a:extLst>
              </p:cNvPr>
              <p:cNvSpPr/>
              <p:nvPr/>
            </p:nvSpPr>
            <p:spPr>
              <a:xfrm>
                <a:off x="6849013"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5" name="Freihandform 497">
                <a:extLst>
                  <a:ext uri="{FF2B5EF4-FFF2-40B4-BE49-F238E27FC236}">
                    <a16:creationId xmlns:a16="http://schemas.microsoft.com/office/drawing/2014/main" id="{372E1E2F-A08E-902C-2D6D-89C33BADFDD5}"/>
                  </a:ext>
                </a:extLst>
              </p:cNvPr>
              <p:cNvSpPr/>
              <p:nvPr/>
            </p:nvSpPr>
            <p:spPr>
              <a:xfrm>
                <a:off x="6876795"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6" name="Freihandform 498">
                <a:extLst>
                  <a:ext uri="{FF2B5EF4-FFF2-40B4-BE49-F238E27FC236}">
                    <a16:creationId xmlns:a16="http://schemas.microsoft.com/office/drawing/2014/main" id="{5D9619D8-6152-FA5C-9AB1-D874474B1E80}"/>
                  </a:ext>
                </a:extLst>
              </p:cNvPr>
              <p:cNvSpPr/>
              <p:nvPr/>
            </p:nvSpPr>
            <p:spPr>
              <a:xfrm>
                <a:off x="6904577"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6" name="Grafik 15">
              <a:extLst>
                <a:ext uri="{FF2B5EF4-FFF2-40B4-BE49-F238E27FC236}">
                  <a16:creationId xmlns:a16="http://schemas.microsoft.com/office/drawing/2014/main" id="{A880B275-8F94-55CD-25CE-18775A14FFAC}"/>
                </a:ext>
              </a:extLst>
            </p:cNvPr>
            <p:cNvGrpSpPr/>
            <p:nvPr/>
          </p:nvGrpSpPr>
          <p:grpSpPr>
            <a:xfrm>
              <a:off x="6943210" y="3466637"/>
              <a:ext cx="52018" cy="32688"/>
              <a:chOff x="6943210" y="3466637"/>
              <a:chExt cx="52018" cy="32688"/>
            </a:xfrm>
            <a:solidFill>
              <a:srgbClr val="D5EEF9"/>
            </a:solidFill>
          </p:grpSpPr>
          <p:sp>
            <p:nvSpPr>
              <p:cNvPr id="411" name="Freihandform 493">
                <a:extLst>
                  <a:ext uri="{FF2B5EF4-FFF2-40B4-BE49-F238E27FC236}">
                    <a16:creationId xmlns:a16="http://schemas.microsoft.com/office/drawing/2014/main" id="{5FCBD62D-E8A1-D6C9-C98D-78CC27ACC5E5}"/>
                  </a:ext>
                </a:extLst>
              </p:cNvPr>
              <p:cNvSpPr/>
              <p:nvPr/>
            </p:nvSpPr>
            <p:spPr>
              <a:xfrm>
                <a:off x="6943210"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sp>
            <p:nvSpPr>
              <p:cNvPr id="412" name="Freihandform 494">
                <a:extLst>
                  <a:ext uri="{FF2B5EF4-FFF2-40B4-BE49-F238E27FC236}">
                    <a16:creationId xmlns:a16="http://schemas.microsoft.com/office/drawing/2014/main" id="{DF220B21-D1D3-03CB-A985-FAA6036E65B2}"/>
                  </a:ext>
                </a:extLst>
              </p:cNvPr>
              <p:cNvSpPr/>
              <p:nvPr/>
            </p:nvSpPr>
            <p:spPr>
              <a:xfrm>
                <a:off x="6970992" y="3466637"/>
                <a:ext cx="24236" cy="32688"/>
              </a:xfrm>
              <a:custGeom>
                <a:avLst/>
                <a:gdLst>
                  <a:gd name="connsiteX0" fmla="*/ 0 w 24236"/>
                  <a:gd name="connsiteY0" fmla="*/ 0 h 32688"/>
                  <a:gd name="connsiteX1" fmla="*/ 24237 w 24236"/>
                  <a:gd name="connsiteY1" fmla="*/ 0 h 32688"/>
                  <a:gd name="connsiteX2" fmla="*/ 24237 w 24236"/>
                  <a:gd name="connsiteY2" fmla="*/ 32688 h 32688"/>
                  <a:gd name="connsiteX3" fmla="*/ 0 w 24236"/>
                  <a:gd name="connsiteY3" fmla="*/ 32688 h 32688"/>
                </a:gdLst>
                <a:ahLst/>
                <a:cxnLst>
                  <a:cxn ang="0">
                    <a:pos x="connsiteX0" y="connsiteY0"/>
                  </a:cxn>
                  <a:cxn ang="0">
                    <a:pos x="connsiteX1" y="connsiteY1"/>
                  </a:cxn>
                  <a:cxn ang="0">
                    <a:pos x="connsiteX2" y="connsiteY2"/>
                  </a:cxn>
                  <a:cxn ang="0">
                    <a:pos x="connsiteX3" y="connsiteY3"/>
                  </a:cxn>
                </a:cxnLst>
                <a:rect l="l" t="t" r="r" b="b"/>
                <a:pathLst>
                  <a:path w="24236" h="32688">
                    <a:moveTo>
                      <a:pt x="0" y="0"/>
                    </a:moveTo>
                    <a:lnTo>
                      <a:pt x="24237" y="0"/>
                    </a:lnTo>
                    <a:lnTo>
                      <a:pt x="24237" y="32688"/>
                    </a:lnTo>
                    <a:lnTo>
                      <a:pt x="0" y="32688"/>
                    </a:lnTo>
                    <a:close/>
                  </a:path>
                </a:pathLst>
              </a:custGeom>
              <a:solidFill>
                <a:srgbClr val="D5EEF9"/>
              </a:solidFill>
              <a:ln w="1131" cap="flat">
                <a:noFill/>
                <a:prstDash val="solid"/>
                <a:miter/>
              </a:ln>
            </p:spPr>
            <p:txBody>
              <a:bodyPr rtlCol="0" anchor="ctr"/>
              <a:lstStyle/>
              <a:p>
                <a:endParaRPr lang="de-DE"/>
              </a:p>
            </p:txBody>
          </p:sp>
        </p:grpSp>
        <p:grpSp>
          <p:nvGrpSpPr>
            <p:cNvPr id="177" name="Grafik 15">
              <a:extLst>
                <a:ext uri="{FF2B5EF4-FFF2-40B4-BE49-F238E27FC236}">
                  <a16:creationId xmlns:a16="http://schemas.microsoft.com/office/drawing/2014/main" id="{0746EB75-0F70-85C9-67CC-103D34BFEDE8}"/>
                </a:ext>
              </a:extLst>
            </p:cNvPr>
            <p:cNvGrpSpPr/>
            <p:nvPr/>
          </p:nvGrpSpPr>
          <p:grpSpPr>
            <a:xfrm>
              <a:off x="6083457" y="3503158"/>
              <a:ext cx="57200" cy="100741"/>
              <a:chOff x="6083457" y="3503158"/>
              <a:chExt cx="57200" cy="100741"/>
            </a:xfrm>
          </p:grpSpPr>
          <p:sp>
            <p:nvSpPr>
              <p:cNvPr id="397" name="Freihandform 479">
                <a:extLst>
                  <a:ext uri="{FF2B5EF4-FFF2-40B4-BE49-F238E27FC236}">
                    <a16:creationId xmlns:a16="http://schemas.microsoft.com/office/drawing/2014/main" id="{B325640C-FDF5-D07A-4DB8-1F1C68F9227D}"/>
                  </a:ext>
                </a:extLst>
              </p:cNvPr>
              <p:cNvSpPr/>
              <p:nvPr/>
            </p:nvSpPr>
            <p:spPr>
              <a:xfrm>
                <a:off x="6083457"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98" name="Freihandform 480">
                <a:extLst>
                  <a:ext uri="{FF2B5EF4-FFF2-40B4-BE49-F238E27FC236}">
                    <a16:creationId xmlns:a16="http://schemas.microsoft.com/office/drawing/2014/main" id="{54B16828-A199-4D34-6C06-A70B2B18E767}"/>
                  </a:ext>
                </a:extLst>
              </p:cNvPr>
              <p:cNvSpPr/>
              <p:nvPr/>
            </p:nvSpPr>
            <p:spPr>
              <a:xfrm>
                <a:off x="6083457"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99" name="Freihandform 481">
                <a:extLst>
                  <a:ext uri="{FF2B5EF4-FFF2-40B4-BE49-F238E27FC236}">
                    <a16:creationId xmlns:a16="http://schemas.microsoft.com/office/drawing/2014/main" id="{F3F1F9AC-57C7-4822-FC8B-81FD86AB14B0}"/>
                  </a:ext>
                </a:extLst>
              </p:cNvPr>
              <p:cNvSpPr/>
              <p:nvPr/>
            </p:nvSpPr>
            <p:spPr>
              <a:xfrm>
                <a:off x="6093400"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400" name="Grafik 15">
                <a:extLst>
                  <a:ext uri="{FF2B5EF4-FFF2-40B4-BE49-F238E27FC236}">
                    <a16:creationId xmlns:a16="http://schemas.microsoft.com/office/drawing/2014/main" id="{38953024-30C1-3588-FE7B-D339F6644757}"/>
                  </a:ext>
                </a:extLst>
              </p:cNvPr>
              <p:cNvGrpSpPr/>
              <p:nvPr/>
            </p:nvGrpSpPr>
            <p:grpSpPr>
              <a:xfrm>
                <a:off x="6083457" y="3580123"/>
                <a:ext cx="57200" cy="11304"/>
                <a:chOff x="6083457" y="3580123"/>
                <a:chExt cx="57200" cy="11304"/>
              </a:xfrm>
            </p:grpSpPr>
            <p:grpSp>
              <p:nvGrpSpPr>
                <p:cNvPr id="402" name="Grafik 15">
                  <a:extLst>
                    <a:ext uri="{FF2B5EF4-FFF2-40B4-BE49-F238E27FC236}">
                      <a16:creationId xmlns:a16="http://schemas.microsoft.com/office/drawing/2014/main" id="{AAA23F9D-CCE1-C6E1-92C6-6983AF1B1926}"/>
                    </a:ext>
                  </a:extLst>
                </p:cNvPr>
                <p:cNvGrpSpPr/>
                <p:nvPr/>
              </p:nvGrpSpPr>
              <p:grpSpPr>
                <a:xfrm>
                  <a:off x="6083457" y="3580123"/>
                  <a:ext cx="57086" cy="11304"/>
                  <a:chOff x="6083457" y="3580123"/>
                  <a:chExt cx="57086" cy="11304"/>
                </a:xfrm>
              </p:grpSpPr>
              <p:sp>
                <p:nvSpPr>
                  <p:cNvPr id="409" name="Freihandform 491">
                    <a:extLst>
                      <a:ext uri="{FF2B5EF4-FFF2-40B4-BE49-F238E27FC236}">
                        <a16:creationId xmlns:a16="http://schemas.microsoft.com/office/drawing/2014/main" id="{1E932D99-0193-0912-4093-71FD9D9EDF46}"/>
                      </a:ext>
                    </a:extLst>
                  </p:cNvPr>
                  <p:cNvSpPr/>
                  <p:nvPr/>
                </p:nvSpPr>
                <p:spPr>
                  <a:xfrm>
                    <a:off x="6083457"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410" name="Freihandform 492">
                    <a:extLst>
                      <a:ext uri="{FF2B5EF4-FFF2-40B4-BE49-F238E27FC236}">
                        <a16:creationId xmlns:a16="http://schemas.microsoft.com/office/drawing/2014/main" id="{A6FF6699-0A11-A3B6-4B04-E56D2572AC31}"/>
                      </a:ext>
                    </a:extLst>
                  </p:cNvPr>
                  <p:cNvSpPr/>
                  <p:nvPr/>
                </p:nvSpPr>
                <p:spPr>
                  <a:xfrm>
                    <a:off x="6083457"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403" name="Grafik 15">
                  <a:extLst>
                    <a:ext uri="{FF2B5EF4-FFF2-40B4-BE49-F238E27FC236}">
                      <a16:creationId xmlns:a16="http://schemas.microsoft.com/office/drawing/2014/main" id="{C40F7E28-6493-3AC8-65DD-50157D59F950}"/>
                    </a:ext>
                  </a:extLst>
                </p:cNvPr>
                <p:cNvGrpSpPr/>
                <p:nvPr/>
              </p:nvGrpSpPr>
              <p:grpSpPr>
                <a:xfrm>
                  <a:off x="6130715" y="3580123"/>
                  <a:ext cx="9942" cy="11304"/>
                  <a:chOff x="6130715" y="3580123"/>
                  <a:chExt cx="9942" cy="11304"/>
                </a:xfrm>
              </p:grpSpPr>
              <p:sp>
                <p:nvSpPr>
                  <p:cNvPr id="407" name="Freihandform 489">
                    <a:extLst>
                      <a:ext uri="{FF2B5EF4-FFF2-40B4-BE49-F238E27FC236}">
                        <a16:creationId xmlns:a16="http://schemas.microsoft.com/office/drawing/2014/main" id="{9280167A-A7D0-3C08-4FC5-12E5F51D6795}"/>
                      </a:ext>
                    </a:extLst>
                  </p:cNvPr>
                  <p:cNvSpPr/>
                  <p:nvPr/>
                </p:nvSpPr>
                <p:spPr>
                  <a:xfrm>
                    <a:off x="6130715"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408" name="Freihandform 490">
                    <a:extLst>
                      <a:ext uri="{FF2B5EF4-FFF2-40B4-BE49-F238E27FC236}">
                        <a16:creationId xmlns:a16="http://schemas.microsoft.com/office/drawing/2014/main" id="{F98FEB24-1591-6AE6-4186-7F840122EBF9}"/>
                      </a:ext>
                    </a:extLst>
                  </p:cNvPr>
                  <p:cNvSpPr/>
                  <p:nvPr/>
                </p:nvSpPr>
                <p:spPr>
                  <a:xfrm>
                    <a:off x="6130715"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404" name="Grafik 15">
                  <a:extLst>
                    <a:ext uri="{FF2B5EF4-FFF2-40B4-BE49-F238E27FC236}">
                      <a16:creationId xmlns:a16="http://schemas.microsoft.com/office/drawing/2014/main" id="{F3882297-E5D3-0823-5176-E45B13384C79}"/>
                    </a:ext>
                  </a:extLst>
                </p:cNvPr>
                <p:cNvGrpSpPr/>
                <p:nvPr/>
              </p:nvGrpSpPr>
              <p:grpSpPr>
                <a:xfrm>
                  <a:off x="6083457" y="3580123"/>
                  <a:ext cx="9942" cy="11304"/>
                  <a:chOff x="6083457" y="3580123"/>
                  <a:chExt cx="9942" cy="11304"/>
                </a:xfrm>
              </p:grpSpPr>
              <p:sp>
                <p:nvSpPr>
                  <p:cNvPr id="405" name="Freihandform 487">
                    <a:extLst>
                      <a:ext uri="{FF2B5EF4-FFF2-40B4-BE49-F238E27FC236}">
                        <a16:creationId xmlns:a16="http://schemas.microsoft.com/office/drawing/2014/main" id="{9BD80732-310E-FADB-813F-4449A80805A3}"/>
                      </a:ext>
                    </a:extLst>
                  </p:cNvPr>
                  <p:cNvSpPr/>
                  <p:nvPr/>
                </p:nvSpPr>
                <p:spPr>
                  <a:xfrm>
                    <a:off x="6083457"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406" name="Freihandform 488">
                    <a:extLst>
                      <a:ext uri="{FF2B5EF4-FFF2-40B4-BE49-F238E27FC236}">
                        <a16:creationId xmlns:a16="http://schemas.microsoft.com/office/drawing/2014/main" id="{37C67BFC-8A18-4817-30E2-42E66F707B6E}"/>
                      </a:ext>
                    </a:extLst>
                  </p:cNvPr>
                  <p:cNvSpPr/>
                  <p:nvPr/>
                </p:nvSpPr>
                <p:spPr>
                  <a:xfrm>
                    <a:off x="6083457"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401" name="Freihandform 483">
                <a:extLst>
                  <a:ext uri="{FF2B5EF4-FFF2-40B4-BE49-F238E27FC236}">
                    <a16:creationId xmlns:a16="http://schemas.microsoft.com/office/drawing/2014/main" id="{1C9FC8C0-47C6-AFEA-4E76-40457EA7DD17}"/>
                  </a:ext>
                </a:extLst>
              </p:cNvPr>
              <p:cNvSpPr/>
              <p:nvPr/>
            </p:nvSpPr>
            <p:spPr>
              <a:xfrm>
                <a:off x="6102217"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sp>
          <p:nvSpPr>
            <p:cNvPr id="178" name="Freihandform 54">
              <a:extLst>
                <a:ext uri="{FF2B5EF4-FFF2-40B4-BE49-F238E27FC236}">
                  <a16:creationId xmlns:a16="http://schemas.microsoft.com/office/drawing/2014/main" id="{3E0EEE7A-4844-AF1B-97A8-662E1D8DC9A7}"/>
                </a:ext>
              </a:extLst>
            </p:cNvPr>
            <p:cNvSpPr/>
            <p:nvPr/>
          </p:nvSpPr>
          <p:spPr>
            <a:xfrm>
              <a:off x="6044654" y="3551221"/>
              <a:ext cx="22918" cy="52677"/>
            </a:xfrm>
            <a:custGeom>
              <a:avLst/>
              <a:gdLst>
                <a:gd name="connsiteX0" fmla="*/ 0 w 22918"/>
                <a:gd name="connsiteY0" fmla="*/ 0 h 52677"/>
                <a:gd name="connsiteX1" fmla="*/ 22919 w 22918"/>
                <a:gd name="connsiteY1" fmla="*/ 0 h 52677"/>
                <a:gd name="connsiteX2" fmla="*/ 22919 w 22918"/>
                <a:gd name="connsiteY2" fmla="*/ 52678 h 52677"/>
                <a:gd name="connsiteX3" fmla="*/ 0 w 22918"/>
                <a:gd name="connsiteY3" fmla="*/ 52678 h 52677"/>
              </a:gdLst>
              <a:ahLst/>
              <a:cxnLst>
                <a:cxn ang="0">
                  <a:pos x="connsiteX0" y="connsiteY0"/>
                </a:cxn>
                <a:cxn ang="0">
                  <a:pos x="connsiteX1" y="connsiteY1"/>
                </a:cxn>
                <a:cxn ang="0">
                  <a:pos x="connsiteX2" y="connsiteY2"/>
                </a:cxn>
                <a:cxn ang="0">
                  <a:pos x="connsiteX3" y="connsiteY3"/>
                </a:cxn>
              </a:cxnLst>
              <a:rect l="l" t="t" r="r" b="b"/>
              <a:pathLst>
                <a:path w="22918" h="52677">
                  <a:moveTo>
                    <a:pt x="0" y="0"/>
                  </a:moveTo>
                  <a:lnTo>
                    <a:pt x="22919" y="0"/>
                  </a:lnTo>
                  <a:lnTo>
                    <a:pt x="22919" y="52678"/>
                  </a:lnTo>
                  <a:lnTo>
                    <a:pt x="0" y="52678"/>
                  </a:lnTo>
                  <a:close/>
                </a:path>
              </a:pathLst>
            </a:custGeom>
            <a:solidFill>
              <a:srgbClr val="53514F"/>
            </a:solidFill>
            <a:ln w="1131" cap="flat">
              <a:noFill/>
              <a:prstDash val="solid"/>
              <a:miter/>
            </a:ln>
          </p:spPr>
          <p:txBody>
            <a:bodyPr rtlCol="0" anchor="ctr"/>
            <a:lstStyle/>
            <a:p>
              <a:endParaRPr lang="de-DE"/>
            </a:p>
          </p:txBody>
        </p:sp>
        <p:sp>
          <p:nvSpPr>
            <p:cNvPr id="179" name="Freihandform 56">
              <a:extLst>
                <a:ext uri="{FF2B5EF4-FFF2-40B4-BE49-F238E27FC236}">
                  <a16:creationId xmlns:a16="http://schemas.microsoft.com/office/drawing/2014/main" id="{30E87942-30D8-9C55-85CE-946C6B0FB108}"/>
                </a:ext>
              </a:extLst>
            </p:cNvPr>
            <p:cNvSpPr/>
            <p:nvPr/>
          </p:nvSpPr>
          <p:spPr>
            <a:xfrm>
              <a:off x="6047551" y="3554475"/>
              <a:ext cx="17135" cy="31441"/>
            </a:xfrm>
            <a:custGeom>
              <a:avLst/>
              <a:gdLst>
                <a:gd name="connsiteX0" fmla="*/ 0 w 17135"/>
                <a:gd name="connsiteY0" fmla="*/ 0 h 31441"/>
                <a:gd name="connsiteX1" fmla="*/ 17135 w 17135"/>
                <a:gd name="connsiteY1" fmla="*/ 0 h 31441"/>
                <a:gd name="connsiteX2" fmla="*/ 17135 w 17135"/>
                <a:gd name="connsiteY2" fmla="*/ 31441 h 31441"/>
                <a:gd name="connsiteX3" fmla="*/ 0 w 17135"/>
                <a:gd name="connsiteY3" fmla="*/ 31441 h 31441"/>
              </a:gdLst>
              <a:ahLst/>
              <a:cxnLst>
                <a:cxn ang="0">
                  <a:pos x="connsiteX0" y="connsiteY0"/>
                </a:cxn>
                <a:cxn ang="0">
                  <a:pos x="connsiteX1" y="connsiteY1"/>
                </a:cxn>
                <a:cxn ang="0">
                  <a:pos x="connsiteX2" y="connsiteY2"/>
                </a:cxn>
                <a:cxn ang="0">
                  <a:pos x="connsiteX3" y="connsiteY3"/>
                </a:cxn>
              </a:cxnLst>
              <a:rect l="l" t="t" r="r" b="b"/>
              <a:pathLst>
                <a:path w="17135" h="31441">
                  <a:moveTo>
                    <a:pt x="0" y="0"/>
                  </a:moveTo>
                  <a:lnTo>
                    <a:pt x="17135" y="0"/>
                  </a:lnTo>
                  <a:lnTo>
                    <a:pt x="17135" y="31441"/>
                  </a:lnTo>
                  <a:lnTo>
                    <a:pt x="0" y="31441"/>
                  </a:lnTo>
                  <a:close/>
                </a:path>
              </a:pathLst>
            </a:custGeom>
            <a:solidFill>
              <a:srgbClr val="C3C3C4"/>
            </a:solidFill>
            <a:ln w="1131" cap="flat">
              <a:noFill/>
              <a:prstDash val="solid"/>
              <a:miter/>
            </a:ln>
          </p:spPr>
          <p:txBody>
            <a:bodyPr rtlCol="0" anchor="ctr"/>
            <a:lstStyle/>
            <a:p>
              <a:endParaRPr lang="de-DE"/>
            </a:p>
          </p:txBody>
        </p:sp>
        <p:grpSp>
          <p:nvGrpSpPr>
            <p:cNvPr id="180" name="Grafik 15">
              <a:extLst>
                <a:ext uri="{FF2B5EF4-FFF2-40B4-BE49-F238E27FC236}">
                  <a16:creationId xmlns:a16="http://schemas.microsoft.com/office/drawing/2014/main" id="{91D7C547-B078-2BC6-DD56-EEA0D5B6D291}"/>
                </a:ext>
              </a:extLst>
            </p:cNvPr>
            <p:cNvGrpSpPr/>
            <p:nvPr/>
          </p:nvGrpSpPr>
          <p:grpSpPr>
            <a:xfrm>
              <a:off x="6144635" y="3503158"/>
              <a:ext cx="57200" cy="100741"/>
              <a:chOff x="6144635" y="3503158"/>
              <a:chExt cx="57200" cy="100741"/>
            </a:xfrm>
          </p:grpSpPr>
          <p:sp>
            <p:nvSpPr>
              <p:cNvPr id="383" name="Freihandform 465">
                <a:extLst>
                  <a:ext uri="{FF2B5EF4-FFF2-40B4-BE49-F238E27FC236}">
                    <a16:creationId xmlns:a16="http://schemas.microsoft.com/office/drawing/2014/main" id="{5D1E7C76-5974-F437-3536-B3E01261B37E}"/>
                  </a:ext>
                </a:extLst>
              </p:cNvPr>
              <p:cNvSpPr/>
              <p:nvPr/>
            </p:nvSpPr>
            <p:spPr>
              <a:xfrm>
                <a:off x="6144635"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84" name="Freihandform 466">
                <a:extLst>
                  <a:ext uri="{FF2B5EF4-FFF2-40B4-BE49-F238E27FC236}">
                    <a16:creationId xmlns:a16="http://schemas.microsoft.com/office/drawing/2014/main" id="{FA7671ED-637F-FD3B-E77F-BF35F934BD45}"/>
                  </a:ext>
                </a:extLst>
              </p:cNvPr>
              <p:cNvSpPr/>
              <p:nvPr/>
            </p:nvSpPr>
            <p:spPr>
              <a:xfrm>
                <a:off x="6144635"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85" name="Freihandform 467">
                <a:extLst>
                  <a:ext uri="{FF2B5EF4-FFF2-40B4-BE49-F238E27FC236}">
                    <a16:creationId xmlns:a16="http://schemas.microsoft.com/office/drawing/2014/main" id="{0A32D4C8-1DE2-F855-7755-F015D2692A0A}"/>
                  </a:ext>
                </a:extLst>
              </p:cNvPr>
              <p:cNvSpPr/>
              <p:nvPr/>
            </p:nvSpPr>
            <p:spPr>
              <a:xfrm>
                <a:off x="6154577"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86" name="Grafik 15">
                <a:extLst>
                  <a:ext uri="{FF2B5EF4-FFF2-40B4-BE49-F238E27FC236}">
                    <a16:creationId xmlns:a16="http://schemas.microsoft.com/office/drawing/2014/main" id="{DA46A075-974F-E68C-320C-A0DE4F3E1E36}"/>
                  </a:ext>
                </a:extLst>
              </p:cNvPr>
              <p:cNvGrpSpPr/>
              <p:nvPr/>
            </p:nvGrpSpPr>
            <p:grpSpPr>
              <a:xfrm>
                <a:off x="6144635" y="3580123"/>
                <a:ext cx="57200" cy="11304"/>
                <a:chOff x="6144635" y="3580123"/>
                <a:chExt cx="57200" cy="11304"/>
              </a:xfrm>
            </p:grpSpPr>
            <p:grpSp>
              <p:nvGrpSpPr>
                <p:cNvPr id="388" name="Grafik 15">
                  <a:extLst>
                    <a:ext uri="{FF2B5EF4-FFF2-40B4-BE49-F238E27FC236}">
                      <a16:creationId xmlns:a16="http://schemas.microsoft.com/office/drawing/2014/main" id="{1CDB98D7-5CC2-A127-6072-8CF8A6C970BD}"/>
                    </a:ext>
                  </a:extLst>
                </p:cNvPr>
                <p:cNvGrpSpPr/>
                <p:nvPr/>
              </p:nvGrpSpPr>
              <p:grpSpPr>
                <a:xfrm>
                  <a:off x="6144635" y="3580123"/>
                  <a:ext cx="57086" cy="11304"/>
                  <a:chOff x="6144635" y="3580123"/>
                  <a:chExt cx="57086" cy="11304"/>
                </a:xfrm>
              </p:grpSpPr>
              <p:sp>
                <p:nvSpPr>
                  <p:cNvPr id="395" name="Freihandform 477">
                    <a:extLst>
                      <a:ext uri="{FF2B5EF4-FFF2-40B4-BE49-F238E27FC236}">
                        <a16:creationId xmlns:a16="http://schemas.microsoft.com/office/drawing/2014/main" id="{FDE6F3E7-421D-3533-B2EE-308DE378A24D}"/>
                      </a:ext>
                    </a:extLst>
                  </p:cNvPr>
                  <p:cNvSpPr/>
                  <p:nvPr/>
                </p:nvSpPr>
                <p:spPr>
                  <a:xfrm>
                    <a:off x="6144635"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96" name="Freihandform 478">
                    <a:extLst>
                      <a:ext uri="{FF2B5EF4-FFF2-40B4-BE49-F238E27FC236}">
                        <a16:creationId xmlns:a16="http://schemas.microsoft.com/office/drawing/2014/main" id="{1DDC5302-A49D-A610-4BE2-BE348600C959}"/>
                      </a:ext>
                    </a:extLst>
                  </p:cNvPr>
                  <p:cNvSpPr/>
                  <p:nvPr/>
                </p:nvSpPr>
                <p:spPr>
                  <a:xfrm>
                    <a:off x="6144635"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89" name="Grafik 15">
                  <a:extLst>
                    <a:ext uri="{FF2B5EF4-FFF2-40B4-BE49-F238E27FC236}">
                      <a16:creationId xmlns:a16="http://schemas.microsoft.com/office/drawing/2014/main" id="{FEE538DA-1C0D-521A-690C-DC51121D8DF4}"/>
                    </a:ext>
                  </a:extLst>
                </p:cNvPr>
                <p:cNvGrpSpPr/>
                <p:nvPr/>
              </p:nvGrpSpPr>
              <p:grpSpPr>
                <a:xfrm>
                  <a:off x="6191892" y="3580123"/>
                  <a:ext cx="9942" cy="11304"/>
                  <a:chOff x="6191892" y="3580123"/>
                  <a:chExt cx="9942" cy="11304"/>
                </a:xfrm>
              </p:grpSpPr>
              <p:sp>
                <p:nvSpPr>
                  <p:cNvPr id="393" name="Freihandform 475">
                    <a:extLst>
                      <a:ext uri="{FF2B5EF4-FFF2-40B4-BE49-F238E27FC236}">
                        <a16:creationId xmlns:a16="http://schemas.microsoft.com/office/drawing/2014/main" id="{7D053E4C-2916-0C0F-454C-CF8EC5E9F354}"/>
                      </a:ext>
                    </a:extLst>
                  </p:cNvPr>
                  <p:cNvSpPr/>
                  <p:nvPr/>
                </p:nvSpPr>
                <p:spPr>
                  <a:xfrm>
                    <a:off x="6191892"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94" name="Freihandform 476">
                    <a:extLst>
                      <a:ext uri="{FF2B5EF4-FFF2-40B4-BE49-F238E27FC236}">
                        <a16:creationId xmlns:a16="http://schemas.microsoft.com/office/drawing/2014/main" id="{DDF45F78-84C9-7809-8CCD-B011CED702FF}"/>
                      </a:ext>
                    </a:extLst>
                  </p:cNvPr>
                  <p:cNvSpPr/>
                  <p:nvPr/>
                </p:nvSpPr>
                <p:spPr>
                  <a:xfrm>
                    <a:off x="6191892"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90" name="Grafik 15">
                  <a:extLst>
                    <a:ext uri="{FF2B5EF4-FFF2-40B4-BE49-F238E27FC236}">
                      <a16:creationId xmlns:a16="http://schemas.microsoft.com/office/drawing/2014/main" id="{A3B0DFA9-552A-DF57-79E4-98BC3D175ED1}"/>
                    </a:ext>
                  </a:extLst>
                </p:cNvPr>
                <p:cNvGrpSpPr/>
                <p:nvPr/>
              </p:nvGrpSpPr>
              <p:grpSpPr>
                <a:xfrm>
                  <a:off x="6144635" y="3580123"/>
                  <a:ext cx="9942" cy="11304"/>
                  <a:chOff x="6144635" y="3580123"/>
                  <a:chExt cx="9942" cy="11304"/>
                </a:xfrm>
              </p:grpSpPr>
              <p:sp>
                <p:nvSpPr>
                  <p:cNvPr id="391" name="Freihandform 473">
                    <a:extLst>
                      <a:ext uri="{FF2B5EF4-FFF2-40B4-BE49-F238E27FC236}">
                        <a16:creationId xmlns:a16="http://schemas.microsoft.com/office/drawing/2014/main" id="{A3C62C7C-3D22-9BF0-9CCF-721A5D106FE4}"/>
                      </a:ext>
                    </a:extLst>
                  </p:cNvPr>
                  <p:cNvSpPr/>
                  <p:nvPr/>
                </p:nvSpPr>
                <p:spPr>
                  <a:xfrm>
                    <a:off x="6144635"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92" name="Freihandform 474">
                    <a:extLst>
                      <a:ext uri="{FF2B5EF4-FFF2-40B4-BE49-F238E27FC236}">
                        <a16:creationId xmlns:a16="http://schemas.microsoft.com/office/drawing/2014/main" id="{C4B117F1-5A1F-7333-F234-370A64F70367}"/>
                      </a:ext>
                    </a:extLst>
                  </p:cNvPr>
                  <p:cNvSpPr/>
                  <p:nvPr/>
                </p:nvSpPr>
                <p:spPr>
                  <a:xfrm>
                    <a:off x="6144635"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87" name="Freihandform 469">
                <a:extLst>
                  <a:ext uri="{FF2B5EF4-FFF2-40B4-BE49-F238E27FC236}">
                    <a16:creationId xmlns:a16="http://schemas.microsoft.com/office/drawing/2014/main" id="{48C546B7-8179-7275-C830-844E51502E32}"/>
                  </a:ext>
                </a:extLst>
              </p:cNvPr>
              <p:cNvSpPr/>
              <p:nvPr/>
            </p:nvSpPr>
            <p:spPr>
              <a:xfrm>
                <a:off x="6163395"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1" name="Grafik 15">
              <a:extLst>
                <a:ext uri="{FF2B5EF4-FFF2-40B4-BE49-F238E27FC236}">
                  <a16:creationId xmlns:a16="http://schemas.microsoft.com/office/drawing/2014/main" id="{154A00B8-BCD2-7ECD-85AF-1316FBF658B9}"/>
                </a:ext>
              </a:extLst>
            </p:cNvPr>
            <p:cNvGrpSpPr/>
            <p:nvPr/>
          </p:nvGrpSpPr>
          <p:grpSpPr>
            <a:xfrm>
              <a:off x="6205823" y="3503158"/>
              <a:ext cx="57200" cy="100741"/>
              <a:chOff x="6205823" y="3503158"/>
              <a:chExt cx="57200" cy="100741"/>
            </a:xfrm>
          </p:grpSpPr>
          <p:sp>
            <p:nvSpPr>
              <p:cNvPr id="369" name="Freihandform 451">
                <a:extLst>
                  <a:ext uri="{FF2B5EF4-FFF2-40B4-BE49-F238E27FC236}">
                    <a16:creationId xmlns:a16="http://schemas.microsoft.com/office/drawing/2014/main" id="{118775CF-0C18-445A-A1A7-942AC4D69D2A}"/>
                  </a:ext>
                </a:extLst>
              </p:cNvPr>
              <p:cNvSpPr/>
              <p:nvPr/>
            </p:nvSpPr>
            <p:spPr>
              <a:xfrm>
                <a:off x="6205823"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70" name="Freihandform 452">
                <a:extLst>
                  <a:ext uri="{FF2B5EF4-FFF2-40B4-BE49-F238E27FC236}">
                    <a16:creationId xmlns:a16="http://schemas.microsoft.com/office/drawing/2014/main" id="{0C0B4B4F-2F47-742D-A264-F69B7AC764F9}"/>
                  </a:ext>
                </a:extLst>
              </p:cNvPr>
              <p:cNvSpPr/>
              <p:nvPr/>
            </p:nvSpPr>
            <p:spPr>
              <a:xfrm>
                <a:off x="6205823"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71" name="Freihandform 453">
                <a:extLst>
                  <a:ext uri="{FF2B5EF4-FFF2-40B4-BE49-F238E27FC236}">
                    <a16:creationId xmlns:a16="http://schemas.microsoft.com/office/drawing/2014/main" id="{F07B7B5D-DAA8-C524-9128-C7AAC1CF6769}"/>
                  </a:ext>
                </a:extLst>
              </p:cNvPr>
              <p:cNvSpPr/>
              <p:nvPr/>
            </p:nvSpPr>
            <p:spPr>
              <a:xfrm>
                <a:off x="6215766"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72" name="Grafik 15">
                <a:extLst>
                  <a:ext uri="{FF2B5EF4-FFF2-40B4-BE49-F238E27FC236}">
                    <a16:creationId xmlns:a16="http://schemas.microsoft.com/office/drawing/2014/main" id="{99519A07-60AE-3D66-4D16-A3D1B091CF86}"/>
                  </a:ext>
                </a:extLst>
              </p:cNvPr>
              <p:cNvGrpSpPr/>
              <p:nvPr/>
            </p:nvGrpSpPr>
            <p:grpSpPr>
              <a:xfrm>
                <a:off x="6205823" y="3580123"/>
                <a:ext cx="57200" cy="11304"/>
                <a:chOff x="6205823" y="3580123"/>
                <a:chExt cx="57200" cy="11304"/>
              </a:xfrm>
            </p:grpSpPr>
            <p:grpSp>
              <p:nvGrpSpPr>
                <p:cNvPr id="374" name="Grafik 15">
                  <a:extLst>
                    <a:ext uri="{FF2B5EF4-FFF2-40B4-BE49-F238E27FC236}">
                      <a16:creationId xmlns:a16="http://schemas.microsoft.com/office/drawing/2014/main" id="{FBF601E9-D1D0-861A-4768-18602D57B655}"/>
                    </a:ext>
                  </a:extLst>
                </p:cNvPr>
                <p:cNvGrpSpPr/>
                <p:nvPr/>
              </p:nvGrpSpPr>
              <p:grpSpPr>
                <a:xfrm>
                  <a:off x="6205823" y="3580123"/>
                  <a:ext cx="57086" cy="11304"/>
                  <a:chOff x="6205823" y="3580123"/>
                  <a:chExt cx="57086" cy="11304"/>
                </a:xfrm>
              </p:grpSpPr>
              <p:sp>
                <p:nvSpPr>
                  <p:cNvPr id="381" name="Freihandform 463">
                    <a:extLst>
                      <a:ext uri="{FF2B5EF4-FFF2-40B4-BE49-F238E27FC236}">
                        <a16:creationId xmlns:a16="http://schemas.microsoft.com/office/drawing/2014/main" id="{3C23CDF3-6A1E-AC00-11FA-683FDD92D35B}"/>
                      </a:ext>
                    </a:extLst>
                  </p:cNvPr>
                  <p:cNvSpPr/>
                  <p:nvPr/>
                </p:nvSpPr>
                <p:spPr>
                  <a:xfrm>
                    <a:off x="6205823"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82" name="Freihandform 464">
                    <a:extLst>
                      <a:ext uri="{FF2B5EF4-FFF2-40B4-BE49-F238E27FC236}">
                        <a16:creationId xmlns:a16="http://schemas.microsoft.com/office/drawing/2014/main" id="{D797C9D0-187D-236C-D6E4-2F6DBBE97A5F}"/>
                      </a:ext>
                    </a:extLst>
                  </p:cNvPr>
                  <p:cNvSpPr/>
                  <p:nvPr/>
                </p:nvSpPr>
                <p:spPr>
                  <a:xfrm>
                    <a:off x="6205823"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75" name="Grafik 15">
                  <a:extLst>
                    <a:ext uri="{FF2B5EF4-FFF2-40B4-BE49-F238E27FC236}">
                      <a16:creationId xmlns:a16="http://schemas.microsoft.com/office/drawing/2014/main" id="{EDE5733D-A045-C41F-C194-7BAADAB0A372}"/>
                    </a:ext>
                  </a:extLst>
                </p:cNvPr>
                <p:cNvGrpSpPr/>
                <p:nvPr/>
              </p:nvGrpSpPr>
              <p:grpSpPr>
                <a:xfrm>
                  <a:off x="6253081" y="3580123"/>
                  <a:ext cx="9942" cy="11304"/>
                  <a:chOff x="6253081" y="3580123"/>
                  <a:chExt cx="9942" cy="11304"/>
                </a:xfrm>
              </p:grpSpPr>
              <p:sp>
                <p:nvSpPr>
                  <p:cNvPr id="379" name="Freihandform 461">
                    <a:extLst>
                      <a:ext uri="{FF2B5EF4-FFF2-40B4-BE49-F238E27FC236}">
                        <a16:creationId xmlns:a16="http://schemas.microsoft.com/office/drawing/2014/main" id="{A888E3D1-77A5-1F58-7398-50C5DA6643B4}"/>
                      </a:ext>
                    </a:extLst>
                  </p:cNvPr>
                  <p:cNvSpPr/>
                  <p:nvPr/>
                </p:nvSpPr>
                <p:spPr>
                  <a:xfrm>
                    <a:off x="6253081"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80" name="Freihandform 462">
                    <a:extLst>
                      <a:ext uri="{FF2B5EF4-FFF2-40B4-BE49-F238E27FC236}">
                        <a16:creationId xmlns:a16="http://schemas.microsoft.com/office/drawing/2014/main" id="{63DD52DE-EE2B-652E-D1C4-3FCA644A4064}"/>
                      </a:ext>
                    </a:extLst>
                  </p:cNvPr>
                  <p:cNvSpPr/>
                  <p:nvPr/>
                </p:nvSpPr>
                <p:spPr>
                  <a:xfrm>
                    <a:off x="6253081"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76" name="Grafik 15">
                  <a:extLst>
                    <a:ext uri="{FF2B5EF4-FFF2-40B4-BE49-F238E27FC236}">
                      <a16:creationId xmlns:a16="http://schemas.microsoft.com/office/drawing/2014/main" id="{D068304C-CF35-22C9-9571-0673612B4033}"/>
                    </a:ext>
                  </a:extLst>
                </p:cNvPr>
                <p:cNvGrpSpPr/>
                <p:nvPr/>
              </p:nvGrpSpPr>
              <p:grpSpPr>
                <a:xfrm>
                  <a:off x="6205823" y="3580123"/>
                  <a:ext cx="9942" cy="11304"/>
                  <a:chOff x="6205823" y="3580123"/>
                  <a:chExt cx="9942" cy="11304"/>
                </a:xfrm>
              </p:grpSpPr>
              <p:sp>
                <p:nvSpPr>
                  <p:cNvPr id="377" name="Freihandform 459">
                    <a:extLst>
                      <a:ext uri="{FF2B5EF4-FFF2-40B4-BE49-F238E27FC236}">
                        <a16:creationId xmlns:a16="http://schemas.microsoft.com/office/drawing/2014/main" id="{953471F2-CD1E-026F-BBEB-C10FFCE211DB}"/>
                      </a:ext>
                    </a:extLst>
                  </p:cNvPr>
                  <p:cNvSpPr/>
                  <p:nvPr/>
                </p:nvSpPr>
                <p:spPr>
                  <a:xfrm>
                    <a:off x="6205823"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78" name="Freihandform 460">
                    <a:extLst>
                      <a:ext uri="{FF2B5EF4-FFF2-40B4-BE49-F238E27FC236}">
                        <a16:creationId xmlns:a16="http://schemas.microsoft.com/office/drawing/2014/main" id="{55CEA3D8-0FF0-FDF7-0BA9-5158450470BA}"/>
                      </a:ext>
                    </a:extLst>
                  </p:cNvPr>
                  <p:cNvSpPr/>
                  <p:nvPr/>
                </p:nvSpPr>
                <p:spPr>
                  <a:xfrm>
                    <a:off x="6205823"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73" name="Freihandform 455">
                <a:extLst>
                  <a:ext uri="{FF2B5EF4-FFF2-40B4-BE49-F238E27FC236}">
                    <a16:creationId xmlns:a16="http://schemas.microsoft.com/office/drawing/2014/main" id="{B10FB8A2-FDD7-9CE1-10AF-353848970663}"/>
                  </a:ext>
                </a:extLst>
              </p:cNvPr>
              <p:cNvSpPr/>
              <p:nvPr/>
            </p:nvSpPr>
            <p:spPr>
              <a:xfrm>
                <a:off x="6224583"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2" name="Grafik 15">
              <a:extLst>
                <a:ext uri="{FF2B5EF4-FFF2-40B4-BE49-F238E27FC236}">
                  <a16:creationId xmlns:a16="http://schemas.microsoft.com/office/drawing/2014/main" id="{12005053-D7F9-95B8-FD0B-80A8442169D5}"/>
                </a:ext>
              </a:extLst>
            </p:cNvPr>
            <p:cNvGrpSpPr/>
            <p:nvPr/>
          </p:nvGrpSpPr>
          <p:grpSpPr>
            <a:xfrm>
              <a:off x="6267000" y="3503158"/>
              <a:ext cx="57200" cy="100741"/>
              <a:chOff x="6267000" y="3503158"/>
              <a:chExt cx="57200" cy="100741"/>
            </a:xfrm>
          </p:grpSpPr>
          <p:sp>
            <p:nvSpPr>
              <p:cNvPr id="355" name="Freihandform 437">
                <a:extLst>
                  <a:ext uri="{FF2B5EF4-FFF2-40B4-BE49-F238E27FC236}">
                    <a16:creationId xmlns:a16="http://schemas.microsoft.com/office/drawing/2014/main" id="{9A8BBCDC-07C2-5D7C-F45A-B29EEC20246B}"/>
                  </a:ext>
                </a:extLst>
              </p:cNvPr>
              <p:cNvSpPr/>
              <p:nvPr/>
            </p:nvSpPr>
            <p:spPr>
              <a:xfrm>
                <a:off x="6267000"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56" name="Freihandform 438">
                <a:extLst>
                  <a:ext uri="{FF2B5EF4-FFF2-40B4-BE49-F238E27FC236}">
                    <a16:creationId xmlns:a16="http://schemas.microsoft.com/office/drawing/2014/main" id="{7A5881D6-9ECF-0765-8C6C-CF7874232089}"/>
                  </a:ext>
                </a:extLst>
              </p:cNvPr>
              <p:cNvSpPr/>
              <p:nvPr/>
            </p:nvSpPr>
            <p:spPr>
              <a:xfrm>
                <a:off x="6267000"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57" name="Freihandform 439">
                <a:extLst>
                  <a:ext uri="{FF2B5EF4-FFF2-40B4-BE49-F238E27FC236}">
                    <a16:creationId xmlns:a16="http://schemas.microsoft.com/office/drawing/2014/main" id="{52BBDF4C-DF4D-005E-5531-67AFB3EC032C}"/>
                  </a:ext>
                </a:extLst>
              </p:cNvPr>
              <p:cNvSpPr/>
              <p:nvPr/>
            </p:nvSpPr>
            <p:spPr>
              <a:xfrm>
                <a:off x="6276943"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58" name="Grafik 15">
                <a:extLst>
                  <a:ext uri="{FF2B5EF4-FFF2-40B4-BE49-F238E27FC236}">
                    <a16:creationId xmlns:a16="http://schemas.microsoft.com/office/drawing/2014/main" id="{4F9B9278-68D5-98EB-9D6D-00B22CF6FC95}"/>
                  </a:ext>
                </a:extLst>
              </p:cNvPr>
              <p:cNvGrpSpPr/>
              <p:nvPr/>
            </p:nvGrpSpPr>
            <p:grpSpPr>
              <a:xfrm>
                <a:off x="6267000" y="3580123"/>
                <a:ext cx="57200" cy="11304"/>
                <a:chOff x="6267000" y="3580123"/>
                <a:chExt cx="57200" cy="11304"/>
              </a:xfrm>
            </p:grpSpPr>
            <p:grpSp>
              <p:nvGrpSpPr>
                <p:cNvPr id="360" name="Grafik 15">
                  <a:extLst>
                    <a:ext uri="{FF2B5EF4-FFF2-40B4-BE49-F238E27FC236}">
                      <a16:creationId xmlns:a16="http://schemas.microsoft.com/office/drawing/2014/main" id="{21891844-183A-AAA8-3F84-7CD167ACF9D7}"/>
                    </a:ext>
                  </a:extLst>
                </p:cNvPr>
                <p:cNvGrpSpPr/>
                <p:nvPr/>
              </p:nvGrpSpPr>
              <p:grpSpPr>
                <a:xfrm>
                  <a:off x="6267000" y="3580123"/>
                  <a:ext cx="57086" cy="11304"/>
                  <a:chOff x="6267000" y="3580123"/>
                  <a:chExt cx="57086" cy="11304"/>
                </a:xfrm>
              </p:grpSpPr>
              <p:sp>
                <p:nvSpPr>
                  <p:cNvPr id="367" name="Freihandform 449">
                    <a:extLst>
                      <a:ext uri="{FF2B5EF4-FFF2-40B4-BE49-F238E27FC236}">
                        <a16:creationId xmlns:a16="http://schemas.microsoft.com/office/drawing/2014/main" id="{7C37F479-F7B1-5C5B-DC0E-BE66657430E1}"/>
                      </a:ext>
                    </a:extLst>
                  </p:cNvPr>
                  <p:cNvSpPr/>
                  <p:nvPr/>
                </p:nvSpPr>
                <p:spPr>
                  <a:xfrm>
                    <a:off x="6267000"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68" name="Freihandform 450">
                    <a:extLst>
                      <a:ext uri="{FF2B5EF4-FFF2-40B4-BE49-F238E27FC236}">
                        <a16:creationId xmlns:a16="http://schemas.microsoft.com/office/drawing/2014/main" id="{30E5C6BA-1E11-6BF2-7CB6-6DBE7FCBC054}"/>
                      </a:ext>
                    </a:extLst>
                  </p:cNvPr>
                  <p:cNvSpPr/>
                  <p:nvPr/>
                </p:nvSpPr>
                <p:spPr>
                  <a:xfrm>
                    <a:off x="6267000"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61" name="Grafik 15">
                  <a:extLst>
                    <a:ext uri="{FF2B5EF4-FFF2-40B4-BE49-F238E27FC236}">
                      <a16:creationId xmlns:a16="http://schemas.microsoft.com/office/drawing/2014/main" id="{9B8F961D-8E12-3DD5-7283-3BD7E3202210}"/>
                    </a:ext>
                  </a:extLst>
                </p:cNvPr>
                <p:cNvGrpSpPr/>
                <p:nvPr/>
              </p:nvGrpSpPr>
              <p:grpSpPr>
                <a:xfrm>
                  <a:off x="6314258" y="3580123"/>
                  <a:ext cx="9942" cy="11304"/>
                  <a:chOff x="6314258" y="3580123"/>
                  <a:chExt cx="9942" cy="11304"/>
                </a:xfrm>
              </p:grpSpPr>
              <p:sp>
                <p:nvSpPr>
                  <p:cNvPr id="365" name="Freihandform 447">
                    <a:extLst>
                      <a:ext uri="{FF2B5EF4-FFF2-40B4-BE49-F238E27FC236}">
                        <a16:creationId xmlns:a16="http://schemas.microsoft.com/office/drawing/2014/main" id="{43D2F66A-B32B-727A-C043-97D2F82E71A6}"/>
                      </a:ext>
                    </a:extLst>
                  </p:cNvPr>
                  <p:cNvSpPr/>
                  <p:nvPr/>
                </p:nvSpPr>
                <p:spPr>
                  <a:xfrm>
                    <a:off x="6314258"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66" name="Freihandform 448">
                    <a:extLst>
                      <a:ext uri="{FF2B5EF4-FFF2-40B4-BE49-F238E27FC236}">
                        <a16:creationId xmlns:a16="http://schemas.microsoft.com/office/drawing/2014/main" id="{56902EE2-213E-7869-12B2-D0A6619D2288}"/>
                      </a:ext>
                    </a:extLst>
                  </p:cNvPr>
                  <p:cNvSpPr/>
                  <p:nvPr/>
                </p:nvSpPr>
                <p:spPr>
                  <a:xfrm>
                    <a:off x="6314258"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62" name="Grafik 15">
                  <a:extLst>
                    <a:ext uri="{FF2B5EF4-FFF2-40B4-BE49-F238E27FC236}">
                      <a16:creationId xmlns:a16="http://schemas.microsoft.com/office/drawing/2014/main" id="{74AC80D2-176B-B304-6916-1042C044372B}"/>
                    </a:ext>
                  </a:extLst>
                </p:cNvPr>
                <p:cNvGrpSpPr/>
                <p:nvPr/>
              </p:nvGrpSpPr>
              <p:grpSpPr>
                <a:xfrm>
                  <a:off x="6267000" y="3580123"/>
                  <a:ext cx="9942" cy="11304"/>
                  <a:chOff x="6267000" y="3580123"/>
                  <a:chExt cx="9942" cy="11304"/>
                </a:xfrm>
              </p:grpSpPr>
              <p:sp>
                <p:nvSpPr>
                  <p:cNvPr id="363" name="Freihandform 445">
                    <a:extLst>
                      <a:ext uri="{FF2B5EF4-FFF2-40B4-BE49-F238E27FC236}">
                        <a16:creationId xmlns:a16="http://schemas.microsoft.com/office/drawing/2014/main" id="{29497538-D96C-1569-FC49-F7F53AC8B30C}"/>
                      </a:ext>
                    </a:extLst>
                  </p:cNvPr>
                  <p:cNvSpPr/>
                  <p:nvPr/>
                </p:nvSpPr>
                <p:spPr>
                  <a:xfrm>
                    <a:off x="6267000"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64" name="Freihandform 446">
                    <a:extLst>
                      <a:ext uri="{FF2B5EF4-FFF2-40B4-BE49-F238E27FC236}">
                        <a16:creationId xmlns:a16="http://schemas.microsoft.com/office/drawing/2014/main" id="{0FBB6CAC-C75C-31D4-4AFD-9F857CDE2D51}"/>
                      </a:ext>
                    </a:extLst>
                  </p:cNvPr>
                  <p:cNvSpPr/>
                  <p:nvPr/>
                </p:nvSpPr>
                <p:spPr>
                  <a:xfrm>
                    <a:off x="6267000"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59" name="Freihandform 441">
                <a:extLst>
                  <a:ext uri="{FF2B5EF4-FFF2-40B4-BE49-F238E27FC236}">
                    <a16:creationId xmlns:a16="http://schemas.microsoft.com/office/drawing/2014/main" id="{07841D41-8EEC-799F-60D3-F7EC3BFE04FB}"/>
                  </a:ext>
                </a:extLst>
              </p:cNvPr>
              <p:cNvSpPr/>
              <p:nvPr/>
            </p:nvSpPr>
            <p:spPr>
              <a:xfrm>
                <a:off x="6285760"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3" name="Grafik 15">
              <a:extLst>
                <a:ext uri="{FF2B5EF4-FFF2-40B4-BE49-F238E27FC236}">
                  <a16:creationId xmlns:a16="http://schemas.microsoft.com/office/drawing/2014/main" id="{38C5C28E-F48D-1FA9-6A0A-A832F77B7D14}"/>
                </a:ext>
              </a:extLst>
            </p:cNvPr>
            <p:cNvGrpSpPr/>
            <p:nvPr/>
          </p:nvGrpSpPr>
          <p:grpSpPr>
            <a:xfrm>
              <a:off x="6328177" y="3503158"/>
              <a:ext cx="57211" cy="100741"/>
              <a:chOff x="6328177" y="3503158"/>
              <a:chExt cx="57211" cy="100741"/>
            </a:xfrm>
          </p:grpSpPr>
          <p:sp>
            <p:nvSpPr>
              <p:cNvPr id="341" name="Freihandform 423">
                <a:extLst>
                  <a:ext uri="{FF2B5EF4-FFF2-40B4-BE49-F238E27FC236}">
                    <a16:creationId xmlns:a16="http://schemas.microsoft.com/office/drawing/2014/main" id="{4C57B56D-E8E3-988A-8C51-601511FF5028}"/>
                  </a:ext>
                </a:extLst>
              </p:cNvPr>
              <p:cNvSpPr/>
              <p:nvPr/>
            </p:nvSpPr>
            <p:spPr>
              <a:xfrm>
                <a:off x="6328189"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42" name="Freihandform 424">
                <a:extLst>
                  <a:ext uri="{FF2B5EF4-FFF2-40B4-BE49-F238E27FC236}">
                    <a16:creationId xmlns:a16="http://schemas.microsoft.com/office/drawing/2014/main" id="{D63F939D-AEEB-CB50-FE4B-1B9C9B681C81}"/>
                  </a:ext>
                </a:extLst>
              </p:cNvPr>
              <p:cNvSpPr/>
              <p:nvPr/>
            </p:nvSpPr>
            <p:spPr>
              <a:xfrm>
                <a:off x="6328189"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43" name="Freihandform 425">
                <a:extLst>
                  <a:ext uri="{FF2B5EF4-FFF2-40B4-BE49-F238E27FC236}">
                    <a16:creationId xmlns:a16="http://schemas.microsoft.com/office/drawing/2014/main" id="{A12D7B29-48F9-3BAB-82B6-0254814451D1}"/>
                  </a:ext>
                </a:extLst>
              </p:cNvPr>
              <p:cNvSpPr/>
              <p:nvPr/>
            </p:nvSpPr>
            <p:spPr>
              <a:xfrm>
                <a:off x="6338131"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44" name="Grafik 15">
                <a:extLst>
                  <a:ext uri="{FF2B5EF4-FFF2-40B4-BE49-F238E27FC236}">
                    <a16:creationId xmlns:a16="http://schemas.microsoft.com/office/drawing/2014/main" id="{4C2DCE12-37B5-0028-1EBF-C0AC237FB27B}"/>
                  </a:ext>
                </a:extLst>
              </p:cNvPr>
              <p:cNvGrpSpPr/>
              <p:nvPr/>
            </p:nvGrpSpPr>
            <p:grpSpPr>
              <a:xfrm>
                <a:off x="6328177" y="3580123"/>
                <a:ext cx="57211" cy="11304"/>
                <a:chOff x="6328177" y="3580123"/>
                <a:chExt cx="57211" cy="11304"/>
              </a:xfrm>
            </p:grpSpPr>
            <p:grpSp>
              <p:nvGrpSpPr>
                <p:cNvPr id="346" name="Grafik 15">
                  <a:extLst>
                    <a:ext uri="{FF2B5EF4-FFF2-40B4-BE49-F238E27FC236}">
                      <a16:creationId xmlns:a16="http://schemas.microsoft.com/office/drawing/2014/main" id="{7A764A94-06C3-EDAA-C6FB-AE8F6FA47DE6}"/>
                    </a:ext>
                  </a:extLst>
                </p:cNvPr>
                <p:cNvGrpSpPr/>
                <p:nvPr/>
              </p:nvGrpSpPr>
              <p:grpSpPr>
                <a:xfrm>
                  <a:off x="6328177" y="3580123"/>
                  <a:ext cx="57097" cy="11304"/>
                  <a:chOff x="6328177" y="3580123"/>
                  <a:chExt cx="57097" cy="11304"/>
                </a:xfrm>
              </p:grpSpPr>
              <p:sp>
                <p:nvSpPr>
                  <p:cNvPr id="353" name="Freihandform 435">
                    <a:extLst>
                      <a:ext uri="{FF2B5EF4-FFF2-40B4-BE49-F238E27FC236}">
                        <a16:creationId xmlns:a16="http://schemas.microsoft.com/office/drawing/2014/main" id="{0FEFDA42-A706-5AD2-84CA-3D93DD883773}"/>
                      </a:ext>
                    </a:extLst>
                  </p:cNvPr>
                  <p:cNvSpPr/>
                  <p:nvPr/>
                </p:nvSpPr>
                <p:spPr>
                  <a:xfrm>
                    <a:off x="6328189"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54" name="Freihandform 436">
                    <a:extLst>
                      <a:ext uri="{FF2B5EF4-FFF2-40B4-BE49-F238E27FC236}">
                        <a16:creationId xmlns:a16="http://schemas.microsoft.com/office/drawing/2014/main" id="{A31BF0F5-141D-66E4-5CEA-2F51DC97D6C6}"/>
                      </a:ext>
                    </a:extLst>
                  </p:cNvPr>
                  <p:cNvSpPr/>
                  <p:nvPr/>
                </p:nvSpPr>
                <p:spPr>
                  <a:xfrm>
                    <a:off x="6328177"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47" name="Grafik 15">
                  <a:extLst>
                    <a:ext uri="{FF2B5EF4-FFF2-40B4-BE49-F238E27FC236}">
                      <a16:creationId xmlns:a16="http://schemas.microsoft.com/office/drawing/2014/main" id="{B10EF807-DF9B-70ED-0162-CDC4EB076864}"/>
                    </a:ext>
                  </a:extLst>
                </p:cNvPr>
                <p:cNvGrpSpPr/>
                <p:nvPr/>
              </p:nvGrpSpPr>
              <p:grpSpPr>
                <a:xfrm>
                  <a:off x="6375447" y="3580123"/>
                  <a:ext cx="9942" cy="11304"/>
                  <a:chOff x="6375447" y="3580123"/>
                  <a:chExt cx="9942" cy="11304"/>
                </a:xfrm>
              </p:grpSpPr>
              <p:sp>
                <p:nvSpPr>
                  <p:cNvPr id="351" name="Freihandform 433">
                    <a:extLst>
                      <a:ext uri="{FF2B5EF4-FFF2-40B4-BE49-F238E27FC236}">
                        <a16:creationId xmlns:a16="http://schemas.microsoft.com/office/drawing/2014/main" id="{DA1E826F-3B0C-D787-B117-5547A85CF50D}"/>
                      </a:ext>
                    </a:extLst>
                  </p:cNvPr>
                  <p:cNvSpPr/>
                  <p:nvPr/>
                </p:nvSpPr>
                <p:spPr>
                  <a:xfrm>
                    <a:off x="6375447"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52" name="Freihandform 434">
                    <a:extLst>
                      <a:ext uri="{FF2B5EF4-FFF2-40B4-BE49-F238E27FC236}">
                        <a16:creationId xmlns:a16="http://schemas.microsoft.com/office/drawing/2014/main" id="{4198A29E-7EE2-21A7-9D45-7E13D1210AFD}"/>
                      </a:ext>
                    </a:extLst>
                  </p:cNvPr>
                  <p:cNvSpPr/>
                  <p:nvPr/>
                </p:nvSpPr>
                <p:spPr>
                  <a:xfrm>
                    <a:off x="6375447"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48" name="Grafik 15">
                  <a:extLst>
                    <a:ext uri="{FF2B5EF4-FFF2-40B4-BE49-F238E27FC236}">
                      <a16:creationId xmlns:a16="http://schemas.microsoft.com/office/drawing/2014/main" id="{1C771E46-A3E4-6C46-C436-EE50E7F03063}"/>
                    </a:ext>
                  </a:extLst>
                </p:cNvPr>
                <p:cNvGrpSpPr/>
                <p:nvPr/>
              </p:nvGrpSpPr>
              <p:grpSpPr>
                <a:xfrm>
                  <a:off x="6328189" y="3580123"/>
                  <a:ext cx="9942" cy="11304"/>
                  <a:chOff x="6328189" y="3580123"/>
                  <a:chExt cx="9942" cy="11304"/>
                </a:xfrm>
              </p:grpSpPr>
              <p:sp>
                <p:nvSpPr>
                  <p:cNvPr id="349" name="Freihandform 431">
                    <a:extLst>
                      <a:ext uri="{FF2B5EF4-FFF2-40B4-BE49-F238E27FC236}">
                        <a16:creationId xmlns:a16="http://schemas.microsoft.com/office/drawing/2014/main" id="{A9DEFFEF-1609-0E81-D0A2-4A6709A6E1C0}"/>
                      </a:ext>
                    </a:extLst>
                  </p:cNvPr>
                  <p:cNvSpPr/>
                  <p:nvPr/>
                </p:nvSpPr>
                <p:spPr>
                  <a:xfrm>
                    <a:off x="6328189"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50" name="Freihandform 432">
                    <a:extLst>
                      <a:ext uri="{FF2B5EF4-FFF2-40B4-BE49-F238E27FC236}">
                        <a16:creationId xmlns:a16="http://schemas.microsoft.com/office/drawing/2014/main" id="{B0236F8D-7329-F6C0-490B-E43DB92E4622}"/>
                      </a:ext>
                    </a:extLst>
                  </p:cNvPr>
                  <p:cNvSpPr/>
                  <p:nvPr/>
                </p:nvSpPr>
                <p:spPr>
                  <a:xfrm>
                    <a:off x="6328189"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45" name="Freihandform 427">
                <a:extLst>
                  <a:ext uri="{FF2B5EF4-FFF2-40B4-BE49-F238E27FC236}">
                    <a16:creationId xmlns:a16="http://schemas.microsoft.com/office/drawing/2014/main" id="{9E387A43-62E1-4266-B2D7-1B4327368223}"/>
                  </a:ext>
                </a:extLst>
              </p:cNvPr>
              <p:cNvSpPr/>
              <p:nvPr/>
            </p:nvSpPr>
            <p:spPr>
              <a:xfrm>
                <a:off x="6346949"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4" name="Grafik 15">
              <a:extLst>
                <a:ext uri="{FF2B5EF4-FFF2-40B4-BE49-F238E27FC236}">
                  <a16:creationId xmlns:a16="http://schemas.microsoft.com/office/drawing/2014/main" id="{21592815-BAE6-ED2F-3728-94705E483AF1}"/>
                </a:ext>
              </a:extLst>
            </p:cNvPr>
            <p:cNvGrpSpPr/>
            <p:nvPr/>
          </p:nvGrpSpPr>
          <p:grpSpPr>
            <a:xfrm>
              <a:off x="6389366" y="3503158"/>
              <a:ext cx="57200" cy="100741"/>
              <a:chOff x="6389366" y="3503158"/>
              <a:chExt cx="57200" cy="100741"/>
            </a:xfrm>
          </p:grpSpPr>
          <p:sp>
            <p:nvSpPr>
              <p:cNvPr id="327" name="Freihandform 407">
                <a:extLst>
                  <a:ext uri="{FF2B5EF4-FFF2-40B4-BE49-F238E27FC236}">
                    <a16:creationId xmlns:a16="http://schemas.microsoft.com/office/drawing/2014/main" id="{523281B8-918A-6D1F-1B3A-9F7CC6F2CACA}"/>
                  </a:ext>
                </a:extLst>
              </p:cNvPr>
              <p:cNvSpPr/>
              <p:nvPr/>
            </p:nvSpPr>
            <p:spPr>
              <a:xfrm>
                <a:off x="6389366"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28" name="Freihandform 408">
                <a:extLst>
                  <a:ext uri="{FF2B5EF4-FFF2-40B4-BE49-F238E27FC236}">
                    <a16:creationId xmlns:a16="http://schemas.microsoft.com/office/drawing/2014/main" id="{F6FA93A6-1733-3939-A058-AC4DCE889BC2}"/>
                  </a:ext>
                </a:extLst>
              </p:cNvPr>
              <p:cNvSpPr/>
              <p:nvPr/>
            </p:nvSpPr>
            <p:spPr>
              <a:xfrm>
                <a:off x="6389366"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29" name="Freihandform 409">
                <a:extLst>
                  <a:ext uri="{FF2B5EF4-FFF2-40B4-BE49-F238E27FC236}">
                    <a16:creationId xmlns:a16="http://schemas.microsoft.com/office/drawing/2014/main" id="{1F8A3B61-A7D0-5C36-A832-52957FF50FAA}"/>
                  </a:ext>
                </a:extLst>
              </p:cNvPr>
              <p:cNvSpPr/>
              <p:nvPr/>
            </p:nvSpPr>
            <p:spPr>
              <a:xfrm>
                <a:off x="6399308"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30" name="Grafik 15">
                <a:extLst>
                  <a:ext uri="{FF2B5EF4-FFF2-40B4-BE49-F238E27FC236}">
                    <a16:creationId xmlns:a16="http://schemas.microsoft.com/office/drawing/2014/main" id="{61553B5A-61F9-15E6-7E86-91DD18632188}"/>
                  </a:ext>
                </a:extLst>
              </p:cNvPr>
              <p:cNvGrpSpPr/>
              <p:nvPr/>
            </p:nvGrpSpPr>
            <p:grpSpPr>
              <a:xfrm>
                <a:off x="6389366" y="3580123"/>
                <a:ext cx="57200" cy="11304"/>
                <a:chOff x="6389366" y="3580123"/>
                <a:chExt cx="57200" cy="11304"/>
              </a:xfrm>
            </p:grpSpPr>
            <p:grpSp>
              <p:nvGrpSpPr>
                <p:cNvPr id="332" name="Grafik 15">
                  <a:extLst>
                    <a:ext uri="{FF2B5EF4-FFF2-40B4-BE49-F238E27FC236}">
                      <a16:creationId xmlns:a16="http://schemas.microsoft.com/office/drawing/2014/main" id="{3E67161D-ED17-C886-B003-B8B7D3473E65}"/>
                    </a:ext>
                  </a:extLst>
                </p:cNvPr>
                <p:cNvGrpSpPr/>
                <p:nvPr/>
              </p:nvGrpSpPr>
              <p:grpSpPr>
                <a:xfrm>
                  <a:off x="6389366" y="3580123"/>
                  <a:ext cx="57086" cy="11304"/>
                  <a:chOff x="6389366" y="3580123"/>
                  <a:chExt cx="57086" cy="11304"/>
                </a:xfrm>
              </p:grpSpPr>
              <p:sp>
                <p:nvSpPr>
                  <p:cNvPr id="339" name="Freihandform 421">
                    <a:extLst>
                      <a:ext uri="{FF2B5EF4-FFF2-40B4-BE49-F238E27FC236}">
                        <a16:creationId xmlns:a16="http://schemas.microsoft.com/office/drawing/2014/main" id="{9AA75482-E490-952B-7C6F-1C8B8FC7CDF3}"/>
                      </a:ext>
                    </a:extLst>
                  </p:cNvPr>
                  <p:cNvSpPr/>
                  <p:nvPr/>
                </p:nvSpPr>
                <p:spPr>
                  <a:xfrm>
                    <a:off x="6389366"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40" name="Freihandform 422">
                    <a:extLst>
                      <a:ext uri="{FF2B5EF4-FFF2-40B4-BE49-F238E27FC236}">
                        <a16:creationId xmlns:a16="http://schemas.microsoft.com/office/drawing/2014/main" id="{F6E23A99-44FD-DBD9-4666-2FB6B3CFDBE9}"/>
                      </a:ext>
                    </a:extLst>
                  </p:cNvPr>
                  <p:cNvSpPr/>
                  <p:nvPr/>
                </p:nvSpPr>
                <p:spPr>
                  <a:xfrm>
                    <a:off x="6389366"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33" name="Grafik 15">
                  <a:extLst>
                    <a:ext uri="{FF2B5EF4-FFF2-40B4-BE49-F238E27FC236}">
                      <a16:creationId xmlns:a16="http://schemas.microsoft.com/office/drawing/2014/main" id="{5759070D-393D-0AAD-9EC7-6CE87AEB6B5A}"/>
                    </a:ext>
                  </a:extLst>
                </p:cNvPr>
                <p:cNvGrpSpPr/>
                <p:nvPr/>
              </p:nvGrpSpPr>
              <p:grpSpPr>
                <a:xfrm>
                  <a:off x="6436624" y="3580123"/>
                  <a:ext cx="9942" cy="11304"/>
                  <a:chOff x="6436624" y="3580123"/>
                  <a:chExt cx="9942" cy="11304"/>
                </a:xfrm>
              </p:grpSpPr>
              <p:sp>
                <p:nvSpPr>
                  <p:cNvPr id="337" name="Freihandform 419">
                    <a:extLst>
                      <a:ext uri="{FF2B5EF4-FFF2-40B4-BE49-F238E27FC236}">
                        <a16:creationId xmlns:a16="http://schemas.microsoft.com/office/drawing/2014/main" id="{C18AF604-B060-FF82-D22F-9CC5DF7DD598}"/>
                      </a:ext>
                    </a:extLst>
                  </p:cNvPr>
                  <p:cNvSpPr/>
                  <p:nvPr/>
                </p:nvSpPr>
                <p:spPr>
                  <a:xfrm>
                    <a:off x="6436624"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38" name="Freihandform 420">
                    <a:extLst>
                      <a:ext uri="{FF2B5EF4-FFF2-40B4-BE49-F238E27FC236}">
                        <a16:creationId xmlns:a16="http://schemas.microsoft.com/office/drawing/2014/main" id="{A2375CAF-A5EE-8D27-162C-DD1F16EFB033}"/>
                      </a:ext>
                    </a:extLst>
                  </p:cNvPr>
                  <p:cNvSpPr/>
                  <p:nvPr/>
                </p:nvSpPr>
                <p:spPr>
                  <a:xfrm>
                    <a:off x="6436624"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34" name="Grafik 15">
                  <a:extLst>
                    <a:ext uri="{FF2B5EF4-FFF2-40B4-BE49-F238E27FC236}">
                      <a16:creationId xmlns:a16="http://schemas.microsoft.com/office/drawing/2014/main" id="{C74B94CF-A20B-26D5-B41B-C787655E9169}"/>
                    </a:ext>
                  </a:extLst>
                </p:cNvPr>
                <p:cNvGrpSpPr/>
                <p:nvPr/>
              </p:nvGrpSpPr>
              <p:grpSpPr>
                <a:xfrm>
                  <a:off x="6389366" y="3580123"/>
                  <a:ext cx="9942" cy="11304"/>
                  <a:chOff x="6389366" y="3580123"/>
                  <a:chExt cx="9942" cy="11304"/>
                </a:xfrm>
              </p:grpSpPr>
              <p:sp>
                <p:nvSpPr>
                  <p:cNvPr id="335" name="Freihandform 417">
                    <a:extLst>
                      <a:ext uri="{FF2B5EF4-FFF2-40B4-BE49-F238E27FC236}">
                        <a16:creationId xmlns:a16="http://schemas.microsoft.com/office/drawing/2014/main" id="{77479DB7-F0DA-F219-7441-838FF5CF2EC9}"/>
                      </a:ext>
                    </a:extLst>
                  </p:cNvPr>
                  <p:cNvSpPr/>
                  <p:nvPr/>
                </p:nvSpPr>
                <p:spPr>
                  <a:xfrm>
                    <a:off x="6389366"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36" name="Freihandform 418">
                    <a:extLst>
                      <a:ext uri="{FF2B5EF4-FFF2-40B4-BE49-F238E27FC236}">
                        <a16:creationId xmlns:a16="http://schemas.microsoft.com/office/drawing/2014/main" id="{F3C9E390-965B-BBFA-18DB-81A8ED024561}"/>
                      </a:ext>
                    </a:extLst>
                  </p:cNvPr>
                  <p:cNvSpPr/>
                  <p:nvPr/>
                </p:nvSpPr>
                <p:spPr>
                  <a:xfrm>
                    <a:off x="6389366"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31" name="Freihandform 413">
                <a:extLst>
                  <a:ext uri="{FF2B5EF4-FFF2-40B4-BE49-F238E27FC236}">
                    <a16:creationId xmlns:a16="http://schemas.microsoft.com/office/drawing/2014/main" id="{B32C6C36-B94A-BD3B-EA2B-85B3621901AC}"/>
                  </a:ext>
                </a:extLst>
              </p:cNvPr>
              <p:cNvSpPr/>
              <p:nvPr/>
            </p:nvSpPr>
            <p:spPr>
              <a:xfrm>
                <a:off x="6408126"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5" name="Grafik 15">
              <a:extLst>
                <a:ext uri="{FF2B5EF4-FFF2-40B4-BE49-F238E27FC236}">
                  <a16:creationId xmlns:a16="http://schemas.microsoft.com/office/drawing/2014/main" id="{A238F2E0-589C-95D0-71E0-E0C756306201}"/>
                </a:ext>
              </a:extLst>
            </p:cNvPr>
            <p:cNvGrpSpPr/>
            <p:nvPr/>
          </p:nvGrpSpPr>
          <p:grpSpPr>
            <a:xfrm>
              <a:off x="6450543" y="3503158"/>
              <a:ext cx="57211" cy="100741"/>
              <a:chOff x="6450543" y="3503158"/>
              <a:chExt cx="57211" cy="100741"/>
            </a:xfrm>
          </p:grpSpPr>
          <p:sp>
            <p:nvSpPr>
              <p:cNvPr id="313" name="Freihandform 292">
                <a:extLst>
                  <a:ext uri="{FF2B5EF4-FFF2-40B4-BE49-F238E27FC236}">
                    <a16:creationId xmlns:a16="http://schemas.microsoft.com/office/drawing/2014/main" id="{6EA79705-2AAE-E6B7-39E9-5D6259C496DA}"/>
                  </a:ext>
                </a:extLst>
              </p:cNvPr>
              <p:cNvSpPr/>
              <p:nvPr/>
            </p:nvSpPr>
            <p:spPr>
              <a:xfrm>
                <a:off x="6450555"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14" name="Freihandform 293">
                <a:extLst>
                  <a:ext uri="{FF2B5EF4-FFF2-40B4-BE49-F238E27FC236}">
                    <a16:creationId xmlns:a16="http://schemas.microsoft.com/office/drawing/2014/main" id="{9ADE58DC-E73B-CC2D-FF25-85772E0430AD}"/>
                  </a:ext>
                </a:extLst>
              </p:cNvPr>
              <p:cNvSpPr/>
              <p:nvPr/>
            </p:nvSpPr>
            <p:spPr>
              <a:xfrm>
                <a:off x="6450555"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15" name="Freihandform 294">
                <a:extLst>
                  <a:ext uri="{FF2B5EF4-FFF2-40B4-BE49-F238E27FC236}">
                    <a16:creationId xmlns:a16="http://schemas.microsoft.com/office/drawing/2014/main" id="{7DD0BE24-EA95-56D7-BA23-AF813A328A3E}"/>
                  </a:ext>
                </a:extLst>
              </p:cNvPr>
              <p:cNvSpPr/>
              <p:nvPr/>
            </p:nvSpPr>
            <p:spPr>
              <a:xfrm>
                <a:off x="6460497"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16" name="Grafik 15">
                <a:extLst>
                  <a:ext uri="{FF2B5EF4-FFF2-40B4-BE49-F238E27FC236}">
                    <a16:creationId xmlns:a16="http://schemas.microsoft.com/office/drawing/2014/main" id="{0CF7C5D1-1E86-663F-1A38-A0C60EB3CBFC}"/>
                  </a:ext>
                </a:extLst>
              </p:cNvPr>
              <p:cNvGrpSpPr/>
              <p:nvPr/>
            </p:nvGrpSpPr>
            <p:grpSpPr>
              <a:xfrm>
                <a:off x="6450543" y="3580123"/>
                <a:ext cx="57211" cy="11304"/>
                <a:chOff x="6450543" y="3580123"/>
                <a:chExt cx="57211" cy="11304"/>
              </a:xfrm>
            </p:grpSpPr>
            <p:grpSp>
              <p:nvGrpSpPr>
                <p:cNvPr id="318" name="Grafik 15">
                  <a:extLst>
                    <a:ext uri="{FF2B5EF4-FFF2-40B4-BE49-F238E27FC236}">
                      <a16:creationId xmlns:a16="http://schemas.microsoft.com/office/drawing/2014/main" id="{172DA499-B8B2-C5E4-9ABB-CC7D07216276}"/>
                    </a:ext>
                  </a:extLst>
                </p:cNvPr>
                <p:cNvGrpSpPr/>
                <p:nvPr/>
              </p:nvGrpSpPr>
              <p:grpSpPr>
                <a:xfrm>
                  <a:off x="6450543" y="3580123"/>
                  <a:ext cx="57097" cy="11304"/>
                  <a:chOff x="6450543" y="3580123"/>
                  <a:chExt cx="57097" cy="11304"/>
                </a:xfrm>
              </p:grpSpPr>
              <p:sp>
                <p:nvSpPr>
                  <p:cNvPr id="325" name="Freihandform 404">
                    <a:extLst>
                      <a:ext uri="{FF2B5EF4-FFF2-40B4-BE49-F238E27FC236}">
                        <a16:creationId xmlns:a16="http://schemas.microsoft.com/office/drawing/2014/main" id="{06A5252D-EAFE-298C-8D8F-42DAE08AF40A}"/>
                      </a:ext>
                    </a:extLst>
                  </p:cNvPr>
                  <p:cNvSpPr/>
                  <p:nvPr/>
                </p:nvSpPr>
                <p:spPr>
                  <a:xfrm>
                    <a:off x="6450555"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26" name="Freihandform 406">
                    <a:extLst>
                      <a:ext uri="{FF2B5EF4-FFF2-40B4-BE49-F238E27FC236}">
                        <a16:creationId xmlns:a16="http://schemas.microsoft.com/office/drawing/2014/main" id="{8A2E9D58-C6E5-311C-CBA1-127453AE01D6}"/>
                      </a:ext>
                    </a:extLst>
                  </p:cNvPr>
                  <p:cNvSpPr/>
                  <p:nvPr/>
                </p:nvSpPr>
                <p:spPr>
                  <a:xfrm>
                    <a:off x="6450543"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19" name="Grafik 15">
                  <a:extLst>
                    <a:ext uri="{FF2B5EF4-FFF2-40B4-BE49-F238E27FC236}">
                      <a16:creationId xmlns:a16="http://schemas.microsoft.com/office/drawing/2014/main" id="{630C930F-576F-7F94-5DDE-E83069F338FA}"/>
                    </a:ext>
                  </a:extLst>
                </p:cNvPr>
                <p:cNvGrpSpPr/>
                <p:nvPr/>
              </p:nvGrpSpPr>
              <p:grpSpPr>
                <a:xfrm>
                  <a:off x="6497812" y="3580123"/>
                  <a:ext cx="9942" cy="11304"/>
                  <a:chOff x="6497812" y="3580123"/>
                  <a:chExt cx="9942" cy="11304"/>
                </a:xfrm>
              </p:grpSpPr>
              <p:sp>
                <p:nvSpPr>
                  <p:cNvPr id="323" name="Freihandform 400">
                    <a:extLst>
                      <a:ext uri="{FF2B5EF4-FFF2-40B4-BE49-F238E27FC236}">
                        <a16:creationId xmlns:a16="http://schemas.microsoft.com/office/drawing/2014/main" id="{2D6F8DDD-2DD6-FE87-C5F8-50C875384607}"/>
                      </a:ext>
                    </a:extLst>
                  </p:cNvPr>
                  <p:cNvSpPr/>
                  <p:nvPr/>
                </p:nvSpPr>
                <p:spPr>
                  <a:xfrm>
                    <a:off x="6497812"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24" name="Freihandform 402">
                    <a:extLst>
                      <a:ext uri="{FF2B5EF4-FFF2-40B4-BE49-F238E27FC236}">
                        <a16:creationId xmlns:a16="http://schemas.microsoft.com/office/drawing/2014/main" id="{44AD2D57-22AE-93CC-9C6C-249248DF571A}"/>
                      </a:ext>
                    </a:extLst>
                  </p:cNvPr>
                  <p:cNvSpPr/>
                  <p:nvPr/>
                </p:nvSpPr>
                <p:spPr>
                  <a:xfrm>
                    <a:off x="6497812"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20" name="Grafik 15">
                  <a:extLst>
                    <a:ext uri="{FF2B5EF4-FFF2-40B4-BE49-F238E27FC236}">
                      <a16:creationId xmlns:a16="http://schemas.microsoft.com/office/drawing/2014/main" id="{A9D7135C-24BB-9CB1-453D-0CE7C7B45849}"/>
                    </a:ext>
                  </a:extLst>
                </p:cNvPr>
                <p:cNvGrpSpPr/>
                <p:nvPr/>
              </p:nvGrpSpPr>
              <p:grpSpPr>
                <a:xfrm>
                  <a:off x="6450555" y="3580123"/>
                  <a:ext cx="9942" cy="11304"/>
                  <a:chOff x="6450555" y="3580123"/>
                  <a:chExt cx="9942" cy="11304"/>
                </a:xfrm>
              </p:grpSpPr>
              <p:sp>
                <p:nvSpPr>
                  <p:cNvPr id="321" name="Freihandform 394">
                    <a:extLst>
                      <a:ext uri="{FF2B5EF4-FFF2-40B4-BE49-F238E27FC236}">
                        <a16:creationId xmlns:a16="http://schemas.microsoft.com/office/drawing/2014/main" id="{6DC45DC7-FA10-A0EE-47B3-94F8B2345D06}"/>
                      </a:ext>
                    </a:extLst>
                  </p:cNvPr>
                  <p:cNvSpPr/>
                  <p:nvPr/>
                </p:nvSpPr>
                <p:spPr>
                  <a:xfrm>
                    <a:off x="6450555"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22" name="Freihandform 396">
                    <a:extLst>
                      <a:ext uri="{FF2B5EF4-FFF2-40B4-BE49-F238E27FC236}">
                        <a16:creationId xmlns:a16="http://schemas.microsoft.com/office/drawing/2014/main" id="{DA34D171-96F1-0071-BA42-EE40ED1FD8D4}"/>
                      </a:ext>
                    </a:extLst>
                  </p:cNvPr>
                  <p:cNvSpPr/>
                  <p:nvPr/>
                </p:nvSpPr>
                <p:spPr>
                  <a:xfrm>
                    <a:off x="6450555"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17" name="Freihandform 335">
                <a:extLst>
                  <a:ext uri="{FF2B5EF4-FFF2-40B4-BE49-F238E27FC236}">
                    <a16:creationId xmlns:a16="http://schemas.microsoft.com/office/drawing/2014/main" id="{08934A91-EAC8-C0D9-DD95-FEA7826267BE}"/>
                  </a:ext>
                </a:extLst>
              </p:cNvPr>
              <p:cNvSpPr/>
              <p:nvPr/>
            </p:nvSpPr>
            <p:spPr>
              <a:xfrm>
                <a:off x="6469314"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6" name="Grafik 15">
              <a:extLst>
                <a:ext uri="{FF2B5EF4-FFF2-40B4-BE49-F238E27FC236}">
                  <a16:creationId xmlns:a16="http://schemas.microsoft.com/office/drawing/2014/main" id="{BF2E68EE-EFE1-AB95-7946-1167C3C30DD5}"/>
                </a:ext>
              </a:extLst>
            </p:cNvPr>
            <p:cNvGrpSpPr/>
            <p:nvPr/>
          </p:nvGrpSpPr>
          <p:grpSpPr>
            <a:xfrm>
              <a:off x="6511732" y="3503158"/>
              <a:ext cx="57200" cy="100741"/>
              <a:chOff x="6511732" y="3503158"/>
              <a:chExt cx="57200" cy="100741"/>
            </a:xfrm>
          </p:grpSpPr>
          <p:sp>
            <p:nvSpPr>
              <p:cNvPr id="299" name="Freihandform 264">
                <a:extLst>
                  <a:ext uri="{FF2B5EF4-FFF2-40B4-BE49-F238E27FC236}">
                    <a16:creationId xmlns:a16="http://schemas.microsoft.com/office/drawing/2014/main" id="{02A52AB7-623A-7CB3-4208-D6261DF2988F}"/>
                  </a:ext>
                </a:extLst>
              </p:cNvPr>
              <p:cNvSpPr/>
              <p:nvPr/>
            </p:nvSpPr>
            <p:spPr>
              <a:xfrm>
                <a:off x="6511732"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300" name="Freihandform 265">
                <a:extLst>
                  <a:ext uri="{FF2B5EF4-FFF2-40B4-BE49-F238E27FC236}">
                    <a16:creationId xmlns:a16="http://schemas.microsoft.com/office/drawing/2014/main" id="{C23859CF-72AA-E256-8272-D4BFF7CAD0DC}"/>
                  </a:ext>
                </a:extLst>
              </p:cNvPr>
              <p:cNvSpPr/>
              <p:nvPr/>
            </p:nvSpPr>
            <p:spPr>
              <a:xfrm>
                <a:off x="6511732"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301" name="Freihandform 279">
                <a:extLst>
                  <a:ext uri="{FF2B5EF4-FFF2-40B4-BE49-F238E27FC236}">
                    <a16:creationId xmlns:a16="http://schemas.microsoft.com/office/drawing/2014/main" id="{8EDEAFB9-9993-C30A-EE72-73616B06883D}"/>
                  </a:ext>
                </a:extLst>
              </p:cNvPr>
              <p:cNvSpPr/>
              <p:nvPr/>
            </p:nvSpPr>
            <p:spPr>
              <a:xfrm>
                <a:off x="6521674"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302" name="Grafik 15">
                <a:extLst>
                  <a:ext uri="{FF2B5EF4-FFF2-40B4-BE49-F238E27FC236}">
                    <a16:creationId xmlns:a16="http://schemas.microsoft.com/office/drawing/2014/main" id="{61D8C9B8-FE31-8C4E-A7EB-22C9D9A0C913}"/>
                  </a:ext>
                </a:extLst>
              </p:cNvPr>
              <p:cNvGrpSpPr/>
              <p:nvPr/>
            </p:nvGrpSpPr>
            <p:grpSpPr>
              <a:xfrm>
                <a:off x="6511732" y="3580123"/>
                <a:ext cx="57200" cy="11304"/>
                <a:chOff x="6511732" y="3580123"/>
                <a:chExt cx="57200" cy="11304"/>
              </a:xfrm>
            </p:grpSpPr>
            <p:grpSp>
              <p:nvGrpSpPr>
                <p:cNvPr id="304" name="Grafik 15">
                  <a:extLst>
                    <a:ext uri="{FF2B5EF4-FFF2-40B4-BE49-F238E27FC236}">
                      <a16:creationId xmlns:a16="http://schemas.microsoft.com/office/drawing/2014/main" id="{C1255989-741D-8E38-50E6-3EC2E5A7E9E3}"/>
                    </a:ext>
                  </a:extLst>
                </p:cNvPr>
                <p:cNvGrpSpPr/>
                <p:nvPr/>
              </p:nvGrpSpPr>
              <p:grpSpPr>
                <a:xfrm>
                  <a:off x="6511732" y="3580123"/>
                  <a:ext cx="57086" cy="11304"/>
                  <a:chOff x="6511732" y="3580123"/>
                  <a:chExt cx="57086" cy="11304"/>
                </a:xfrm>
              </p:grpSpPr>
              <p:sp>
                <p:nvSpPr>
                  <p:cNvPr id="311" name="Freihandform 290">
                    <a:extLst>
                      <a:ext uri="{FF2B5EF4-FFF2-40B4-BE49-F238E27FC236}">
                        <a16:creationId xmlns:a16="http://schemas.microsoft.com/office/drawing/2014/main" id="{375B80D8-3C49-349B-643E-9975AC9A611B}"/>
                      </a:ext>
                    </a:extLst>
                  </p:cNvPr>
                  <p:cNvSpPr/>
                  <p:nvPr/>
                </p:nvSpPr>
                <p:spPr>
                  <a:xfrm>
                    <a:off x="6511732"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12" name="Freihandform 291">
                    <a:extLst>
                      <a:ext uri="{FF2B5EF4-FFF2-40B4-BE49-F238E27FC236}">
                        <a16:creationId xmlns:a16="http://schemas.microsoft.com/office/drawing/2014/main" id="{293A8C96-8C0F-0A6B-27EE-E3912B28D8B5}"/>
                      </a:ext>
                    </a:extLst>
                  </p:cNvPr>
                  <p:cNvSpPr/>
                  <p:nvPr/>
                </p:nvSpPr>
                <p:spPr>
                  <a:xfrm>
                    <a:off x="6511732"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305" name="Grafik 15">
                  <a:extLst>
                    <a:ext uri="{FF2B5EF4-FFF2-40B4-BE49-F238E27FC236}">
                      <a16:creationId xmlns:a16="http://schemas.microsoft.com/office/drawing/2014/main" id="{DCC7C646-264F-B171-3AF2-9182B93AF349}"/>
                    </a:ext>
                  </a:extLst>
                </p:cNvPr>
                <p:cNvGrpSpPr/>
                <p:nvPr/>
              </p:nvGrpSpPr>
              <p:grpSpPr>
                <a:xfrm>
                  <a:off x="6558989" y="3580123"/>
                  <a:ext cx="9942" cy="11304"/>
                  <a:chOff x="6558989" y="3580123"/>
                  <a:chExt cx="9942" cy="11304"/>
                </a:xfrm>
              </p:grpSpPr>
              <p:sp>
                <p:nvSpPr>
                  <p:cNvPr id="309" name="Freihandform 288">
                    <a:extLst>
                      <a:ext uri="{FF2B5EF4-FFF2-40B4-BE49-F238E27FC236}">
                        <a16:creationId xmlns:a16="http://schemas.microsoft.com/office/drawing/2014/main" id="{90B38E6F-EE79-FA9E-93E1-F46C8C92EF08}"/>
                      </a:ext>
                    </a:extLst>
                  </p:cNvPr>
                  <p:cNvSpPr/>
                  <p:nvPr/>
                </p:nvSpPr>
                <p:spPr>
                  <a:xfrm>
                    <a:off x="6558989"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10" name="Freihandform 289">
                    <a:extLst>
                      <a:ext uri="{FF2B5EF4-FFF2-40B4-BE49-F238E27FC236}">
                        <a16:creationId xmlns:a16="http://schemas.microsoft.com/office/drawing/2014/main" id="{9B41FFFD-1483-2DBA-24D1-7FD44AFA04AE}"/>
                      </a:ext>
                    </a:extLst>
                  </p:cNvPr>
                  <p:cNvSpPr/>
                  <p:nvPr/>
                </p:nvSpPr>
                <p:spPr>
                  <a:xfrm>
                    <a:off x="6558989"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306" name="Grafik 15">
                  <a:extLst>
                    <a:ext uri="{FF2B5EF4-FFF2-40B4-BE49-F238E27FC236}">
                      <a16:creationId xmlns:a16="http://schemas.microsoft.com/office/drawing/2014/main" id="{E8735548-5439-EDC6-DA46-65F04A1CEA0D}"/>
                    </a:ext>
                  </a:extLst>
                </p:cNvPr>
                <p:cNvGrpSpPr/>
                <p:nvPr/>
              </p:nvGrpSpPr>
              <p:grpSpPr>
                <a:xfrm>
                  <a:off x="6511732" y="3580123"/>
                  <a:ext cx="9942" cy="11304"/>
                  <a:chOff x="6511732" y="3580123"/>
                  <a:chExt cx="9942" cy="11304"/>
                </a:xfrm>
              </p:grpSpPr>
              <p:sp>
                <p:nvSpPr>
                  <p:cNvPr id="307" name="Freihandform 286">
                    <a:extLst>
                      <a:ext uri="{FF2B5EF4-FFF2-40B4-BE49-F238E27FC236}">
                        <a16:creationId xmlns:a16="http://schemas.microsoft.com/office/drawing/2014/main" id="{8CAFE8C8-8D31-2E2E-C76E-D03361BAFED3}"/>
                      </a:ext>
                    </a:extLst>
                  </p:cNvPr>
                  <p:cNvSpPr/>
                  <p:nvPr/>
                </p:nvSpPr>
                <p:spPr>
                  <a:xfrm>
                    <a:off x="6511732"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308" name="Freihandform 287">
                    <a:extLst>
                      <a:ext uri="{FF2B5EF4-FFF2-40B4-BE49-F238E27FC236}">
                        <a16:creationId xmlns:a16="http://schemas.microsoft.com/office/drawing/2014/main" id="{8ADCCAD5-5F10-79A4-8FF9-24FF2D96EE24}"/>
                      </a:ext>
                    </a:extLst>
                  </p:cNvPr>
                  <p:cNvSpPr/>
                  <p:nvPr/>
                </p:nvSpPr>
                <p:spPr>
                  <a:xfrm>
                    <a:off x="6511732"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303" name="Freihandform 282">
                <a:extLst>
                  <a:ext uri="{FF2B5EF4-FFF2-40B4-BE49-F238E27FC236}">
                    <a16:creationId xmlns:a16="http://schemas.microsoft.com/office/drawing/2014/main" id="{8E9A7434-968E-C12C-27EE-0F598B661637}"/>
                  </a:ext>
                </a:extLst>
              </p:cNvPr>
              <p:cNvSpPr/>
              <p:nvPr/>
            </p:nvSpPr>
            <p:spPr>
              <a:xfrm>
                <a:off x="6530492"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7" name="Grafik 15">
              <a:extLst>
                <a:ext uri="{FF2B5EF4-FFF2-40B4-BE49-F238E27FC236}">
                  <a16:creationId xmlns:a16="http://schemas.microsoft.com/office/drawing/2014/main" id="{6F126ED1-B70A-EDD0-557C-2430A2B2BBDF}"/>
                </a:ext>
              </a:extLst>
            </p:cNvPr>
            <p:cNvGrpSpPr/>
            <p:nvPr/>
          </p:nvGrpSpPr>
          <p:grpSpPr>
            <a:xfrm>
              <a:off x="6572909" y="3503158"/>
              <a:ext cx="57211" cy="100741"/>
              <a:chOff x="6572909" y="3503158"/>
              <a:chExt cx="57211" cy="100741"/>
            </a:xfrm>
          </p:grpSpPr>
          <p:sp>
            <p:nvSpPr>
              <p:cNvPr id="285" name="Freihandform 250">
                <a:extLst>
                  <a:ext uri="{FF2B5EF4-FFF2-40B4-BE49-F238E27FC236}">
                    <a16:creationId xmlns:a16="http://schemas.microsoft.com/office/drawing/2014/main" id="{048DA225-8C1A-69F4-DB21-E23D885AD82F}"/>
                  </a:ext>
                </a:extLst>
              </p:cNvPr>
              <p:cNvSpPr/>
              <p:nvPr/>
            </p:nvSpPr>
            <p:spPr>
              <a:xfrm>
                <a:off x="6572920"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86" name="Freihandform 251">
                <a:extLst>
                  <a:ext uri="{FF2B5EF4-FFF2-40B4-BE49-F238E27FC236}">
                    <a16:creationId xmlns:a16="http://schemas.microsoft.com/office/drawing/2014/main" id="{1F7088D5-9E55-C20E-F5E0-6EAE1A952C0E}"/>
                  </a:ext>
                </a:extLst>
              </p:cNvPr>
              <p:cNvSpPr/>
              <p:nvPr/>
            </p:nvSpPr>
            <p:spPr>
              <a:xfrm>
                <a:off x="6572920"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87" name="Freihandform 252">
                <a:extLst>
                  <a:ext uri="{FF2B5EF4-FFF2-40B4-BE49-F238E27FC236}">
                    <a16:creationId xmlns:a16="http://schemas.microsoft.com/office/drawing/2014/main" id="{1D8E9FB5-A88B-200F-B901-534335937BB9}"/>
                  </a:ext>
                </a:extLst>
              </p:cNvPr>
              <p:cNvSpPr/>
              <p:nvPr/>
            </p:nvSpPr>
            <p:spPr>
              <a:xfrm>
                <a:off x="6582863"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88" name="Grafik 15">
                <a:extLst>
                  <a:ext uri="{FF2B5EF4-FFF2-40B4-BE49-F238E27FC236}">
                    <a16:creationId xmlns:a16="http://schemas.microsoft.com/office/drawing/2014/main" id="{07F52A04-31FC-CA72-8F4D-7858F7A7FC8A}"/>
                  </a:ext>
                </a:extLst>
              </p:cNvPr>
              <p:cNvGrpSpPr/>
              <p:nvPr/>
            </p:nvGrpSpPr>
            <p:grpSpPr>
              <a:xfrm>
                <a:off x="6572909" y="3580123"/>
                <a:ext cx="57211" cy="11304"/>
                <a:chOff x="6572909" y="3580123"/>
                <a:chExt cx="57211" cy="11304"/>
              </a:xfrm>
            </p:grpSpPr>
            <p:grpSp>
              <p:nvGrpSpPr>
                <p:cNvPr id="290" name="Grafik 15">
                  <a:extLst>
                    <a:ext uri="{FF2B5EF4-FFF2-40B4-BE49-F238E27FC236}">
                      <a16:creationId xmlns:a16="http://schemas.microsoft.com/office/drawing/2014/main" id="{9D350BC0-DC6D-FF13-2F43-5C612B499824}"/>
                    </a:ext>
                  </a:extLst>
                </p:cNvPr>
                <p:cNvGrpSpPr/>
                <p:nvPr/>
              </p:nvGrpSpPr>
              <p:grpSpPr>
                <a:xfrm>
                  <a:off x="6572909" y="3580123"/>
                  <a:ext cx="57097" cy="11304"/>
                  <a:chOff x="6572909" y="3580123"/>
                  <a:chExt cx="57097" cy="11304"/>
                </a:xfrm>
              </p:grpSpPr>
              <p:sp>
                <p:nvSpPr>
                  <p:cNvPr id="297" name="Freihandform 262">
                    <a:extLst>
                      <a:ext uri="{FF2B5EF4-FFF2-40B4-BE49-F238E27FC236}">
                        <a16:creationId xmlns:a16="http://schemas.microsoft.com/office/drawing/2014/main" id="{504D848B-3B20-D0BE-E65E-D3B84F2E4E6C}"/>
                      </a:ext>
                    </a:extLst>
                  </p:cNvPr>
                  <p:cNvSpPr/>
                  <p:nvPr/>
                </p:nvSpPr>
                <p:spPr>
                  <a:xfrm>
                    <a:off x="6572920"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98" name="Freihandform 263">
                    <a:extLst>
                      <a:ext uri="{FF2B5EF4-FFF2-40B4-BE49-F238E27FC236}">
                        <a16:creationId xmlns:a16="http://schemas.microsoft.com/office/drawing/2014/main" id="{817FB95C-9DC6-F52B-C48E-FFBB19F6EDCA}"/>
                      </a:ext>
                    </a:extLst>
                  </p:cNvPr>
                  <p:cNvSpPr/>
                  <p:nvPr/>
                </p:nvSpPr>
                <p:spPr>
                  <a:xfrm>
                    <a:off x="6572909"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91" name="Grafik 15">
                  <a:extLst>
                    <a:ext uri="{FF2B5EF4-FFF2-40B4-BE49-F238E27FC236}">
                      <a16:creationId xmlns:a16="http://schemas.microsoft.com/office/drawing/2014/main" id="{76F7DE26-3F60-49C7-6449-25EAAD42579D}"/>
                    </a:ext>
                  </a:extLst>
                </p:cNvPr>
                <p:cNvGrpSpPr/>
                <p:nvPr/>
              </p:nvGrpSpPr>
              <p:grpSpPr>
                <a:xfrm>
                  <a:off x="6620167" y="3580123"/>
                  <a:ext cx="9953" cy="11304"/>
                  <a:chOff x="6620167" y="3580123"/>
                  <a:chExt cx="9953" cy="11304"/>
                </a:xfrm>
              </p:grpSpPr>
              <p:sp>
                <p:nvSpPr>
                  <p:cNvPr id="295" name="Freihandform 260">
                    <a:extLst>
                      <a:ext uri="{FF2B5EF4-FFF2-40B4-BE49-F238E27FC236}">
                        <a16:creationId xmlns:a16="http://schemas.microsoft.com/office/drawing/2014/main" id="{6A3D8C37-BA58-0239-264C-03EBD06F3397}"/>
                      </a:ext>
                    </a:extLst>
                  </p:cNvPr>
                  <p:cNvSpPr/>
                  <p:nvPr/>
                </p:nvSpPr>
                <p:spPr>
                  <a:xfrm>
                    <a:off x="6620178"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96" name="Freihandform 261">
                    <a:extLst>
                      <a:ext uri="{FF2B5EF4-FFF2-40B4-BE49-F238E27FC236}">
                        <a16:creationId xmlns:a16="http://schemas.microsoft.com/office/drawing/2014/main" id="{5B181DD2-B60E-A02D-22C6-0BC8E735D9A2}"/>
                      </a:ext>
                    </a:extLst>
                  </p:cNvPr>
                  <p:cNvSpPr/>
                  <p:nvPr/>
                </p:nvSpPr>
                <p:spPr>
                  <a:xfrm>
                    <a:off x="6620167"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92" name="Grafik 15">
                  <a:extLst>
                    <a:ext uri="{FF2B5EF4-FFF2-40B4-BE49-F238E27FC236}">
                      <a16:creationId xmlns:a16="http://schemas.microsoft.com/office/drawing/2014/main" id="{D7C2624D-D307-B8A7-1C3A-C23852016FE0}"/>
                    </a:ext>
                  </a:extLst>
                </p:cNvPr>
                <p:cNvGrpSpPr/>
                <p:nvPr/>
              </p:nvGrpSpPr>
              <p:grpSpPr>
                <a:xfrm>
                  <a:off x="6572909" y="3580123"/>
                  <a:ext cx="9953" cy="11304"/>
                  <a:chOff x="6572909" y="3580123"/>
                  <a:chExt cx="9953" cy="11304"/>
                </a:xfrm>
              </p:grpSpPr>
              <p:sp>
                <p:nvSpPr>
                  <p:cNvPr id="293" name="Freihandform 258">
                    <a:extLst>
                      <a:ext uri="{FF2B5EF4-FFF2-40B4-BE49-F238E27FC236}">
                        <a16:creationId xmlns:a16="http://schemas.microsoft.com/office/drawing/2014/main" id="{4CC214CE-2D32-D44C-DC17-130628BE7E18}"/>
                      </a:ext>
                    </a:extLst>
                  </p:cNvPr>
                  <p:cNvSpPr/>
                  <p:nvPr/>
                </p:nvSpPr>
                <p:spPr>
                  <a:xfrm>
                    <a:off x="6572920"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94" name="Freihandform 259">
                    <a:extLst>
                      <a:ext uri="{FF2B5EF4-FFF2-40B4-BE49-F238E27FC236}">
                        <a16:creationId xmlns:a16="http://schemas.microsoft.com/office/drawing/2014/main" id="{570A73E9-22C7-EE2C-EE9A-10CBC3A98072}"/>
                      </a:ext>
                    </a:extLst>
                  </p:cNvPr>
                  <p:cNvSpPr/>
                  <p:nvPr/>
                </p:nvSpPr>
                <p:spPr>
                  <a:xfrm>
                    <a:off x="6572909"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89" name="Freihandform 254">
                <a:extLst>
                  <a:ext uri="{FF2B5EF4-FFF2-40B4-BE49-F238E27FC236}">
                    <a16:creationId xmlns:a16="http://schemas.microsoft.com/office/drawing/2014/main" id="{BCA703B5-3A56-EA10-6C1B-D66A01422EA7}"/>
                  </a:ext>
                </a:extLst>
              </p:cNvPr>
              <p:cNvSpPr/>
              <p:nvPr/>
            </p:nvSpPr>
            <p:spPr>
              <a:xfrm>
                <a:off x="6591680"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8" name="Grafik 15">
              <a:extLst>
                <a:ext uri="{FF2B5EF4-FFF2-40B4-BE49-F238E27FC236}">
                  <a16:creationId xmlns:a16="http://schemas.microsoft.com/office/drawing/2014/main" id="{437AD20F-45E5-905F-5D61-34D1A1548BF1}"/>
                </a:ext>
              </a:extLst>
            </p:cNvPr>
            <p:cNvGrpSpPr/>
            <p:nvPr/>
          </p:nvGrpSpPr>
          <p:grpSpPr>
            <a:xfrm>
              <a:off x="6634097" y="3503158"/>
              <a:ext cx="57200" cy="100741"/>
              <a:chOff x="6634097" y="3503158"/>
              <a:chExt cx="57200" cy="100741"/>
            </a:xfrm>
          </p:grpSpPr>
          <p:sp>
            <p:nvSpPr>
              <p:cNvPr id="271" name="Freihandform 236">
                <a:extLst>
                  <a:ext uri="{FF2B5EF4-FFF2-40B4-BE49-F238E27FC236}">
                    <a16:creationId xmlns:a16="http://schemas.microsoft.com/office/drawing/2014/main" id="{642598D6-6E0D-0179-EEBE-D49136FA81FC}"/>
                  </a:ext>
                </a:extLst>
              </p:cNvPr>
              <p:cNvSpPr/>
              <p:nvPr/>
            </p:nvSpPr>
            <p:spPr>
              <a:xfrm>
                <a:off x="6634097"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72" name="Freihandform 237">
                <a:extLst>
                  <a:ext uri="{FF2B5EF4-FFF2-40B4-BE49-F238E27FC236}">
                    <a16:creationId xmlns:a16="http://schemas.microsoft.com/office/drawing/2014/main" id="{275BCFF6-19B6-0CCF-D13E-4B4D4070B2D7}"/>
                  </a:ext>
                </a:extLst>
              </p:cNvPr>
              <p:cNvSpPr/>
              <p:nvPr/>
            </p:nvSpPr>
            <p:spPr>
              <a:xfrm>
                <a:off x="6634097"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73" name="Freihandform 238">
                <a:extLst>
                  <a:ext uri="{FF2B5EF4-FFF2-40B4-BE49-F238E27FC236}">
                    <a16:creationId xmlns:a16="http://schemas.microsoft.com/office/drawing/2014/main" id="{0D181A08-740A-6CE4-FBE5-8DA638AD2ED8}"/>
                  </a:ext>
                </a:extLst>
              </p:cNvPr>
              <p:cNvSpPr/>
              <p:nvPr/>
            </p:nvSpPr>
            <p:spPr>
              <a:xfrm>
                <a:off x="6644040"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74" name="Grafik 15">
                <a:extLst>
                  <a:ext uri="{FF2B5EF4-FFF2-40B4-BE49-F238E27FC236}">
                    <a16:creationId xmlns:a16="http://schemas.microsoft.com/office/drawing/2014/main" id="{4FCFA4EF-C044-AAB9-B0F1-05DA4ACF95F7}"/>
                  </a:ext>
                </a:extLst>
              </p:cNvPr>
              <p:cNvGrpSpPr/>
              <p:nvPr/>
            </p:nvGrpSpPr>
            <p:grpSpPr>
              <a:xfrm>
                <a:off x="6634097" y="3580123"/>
                <a:ext cx="57200" cy="11304"/>
                <a:chOff x="6634097" y="3580123"/>
                <a:chExt cx="57200" cy="11304"/>
              </a:xfrm>
            </p:grpSpPr>
            <p:grpSp>
              <p:nvGrpSpPr>
                <p:cNvPr id="276" name="Grafik 15">
                  <a:extLst>
                    <a:ext uri="{FF2B5EF4-FFF2-40B4-BE49-F238E27FC236}">
                      <a16:creationId xmlns:a16="http://schemas.microsoft.com/office/drawing/2014/main" id="{3FEE34BE-9B89-DC02-2504-366353755DB8}"/>
                    </a:ext>
                  </a:extLst>
                </p:cNvPr>
                <p:cNvGrpSpPr/>
                <p:nvPr/>
              </p:nvGrpSpPr>
              <p:grpSpPr>
                <a:xfrm>
                  <a:off x="6634097" y="3580123"/>
                  <a:ext cx="57086" cy="11304"/>
                  <a:chOff x="6634097" y="3580123"/>
                  <a:chExt cx="57086" cy="11304"/>
                </a:xfrm>
              </p:grpSpPr>
              <p:sp>
                <p:nvSpPr>
                  <p:cNvPr id="283" name="Freihandform 248">
                    <a:extLst>
                      <a:ext uri="{FF2B5EF4-FFF2-40B4-BE49-F238E27FC236}">
                        <a16:creationId xmlns:a16="http://schemas.microsoft.com/office/drawing/2014/main" id="{D50C45F9-C458-8926-F19B-9D1E33780D4A}"/>
                      </a:ext>
                    </a:extLst>
                  </p:cNvPr>
                  <p:cNvSpPr/>
                  <p:nvPr/>
                </p:nvSpPr>
                <p:spPr>
                  <a:xfrm>
                    <a:off x="6634097"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84" name="Freihandform 249">
                    <a:extLst>
                      <a:ext uri="{FF2B5EF4-FFF2-40B4-BE49-F238E27FC236}">
                        <a16:creationId xmlns:a16="http://schemas.microsoft.com/office/drawing/2014/main" id="{9B87C21D-BBB2-3BE0-E5A6-3B51699AE83D}"/>
                      </a:ext>
                    </a:extLst>
                  </p:cNvPr>
                  <p:cNvSpPr/>
                  <p:nvPr/>
                </p:nvSpPr>
                <p:spPr>
                  <a:xfrm>
                    <a:off x="6634097"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77" name="Grafik 15">
                  <a:extLst>
                    <a:ext uri="{FF2B5EF4-FFF2-40B4-BE49-F238E27FC236}">
                      <a16:creationId xmlns:a16="http://schemas.microsoft.com/office/drawing/2014/main" id="{5F4CD32F-17D1-B291-1F32-CF066B88A2B6}"/>
                    </a:ext>
                  </a:extLst>
                </p:cNvPr>
                <p:cNvGrpSpPr/>
                <p:nvPr/>
              </p:nvGrpSpPr>
              <p:grpSpPr>
                <a:xfrm>
                  <a:off x="6681355" y="3580123"/>
                  <a:ext cx="9942" cy="11304"/>
                  <a:chOff x="6681355" y="3580123"/>
                  <a:chExt cx="9942" cy="11304"/>
                </a:xfrm>
              </p:grpSpPr>
              <p:sp>
                <p:nvSpPr>
                  <p:cNvPr id="281" name="Freihandform 246">
                    <a:extLst>
                      <a:ext uri="{FF2B5EF4-FFF2-40B4-BE49-F238E27FC236}">
                        <a16:creationId xmlns:a16="http://schemas.microsoft.com/office/drawing/2014/main" id="{5CD13E56-2AA1-36F7-1749-16F96E78A997}"/>
                      </a:ext>
                    </a:extLst>
                  </p:cNvPr>
                  <p:cNvSpPr/>
                  <p:nvPr/>
                </p:nvSpPr>
                <p:spPr>
                  <a:xfrm>
                    <a:off x="6681355"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82" name="Freihandform 247">
                    <a:extLst>
                      <a:ext uri="{FF2B5EF4-FFF2-40B4-BE49-F238E27FC236}">
                        <a16:creationId xmlns:a16="http://schemas.microsoft.com/office/drawing/2014/main" id="{40C2C2AF-E13B-C086-3269-C4150DF3CFA0}"/>
                      </a:ext>
                    </a:extLst>
                  </p:cNvPr>
                  <p:cNvSpPr/>
                  <p:nvPr/>
                </p:nvSpPr>
                <p:spPr>
                  <a:xfrm>
                    <a:off x="6681355"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78" name="Grafik 15">
                  <a:extLst>
                    <a:ext uri="{FF2B5EF4-FFF2-40B4-BE49-F238E27FC236}">
                      <a16:creationId xmlns:a16="http://schemas.microsoft.com/office/drawing/2014/main" id="{DEB861D0-D891-5BF5-8B6B-3323920C2D7C}"/>
                    </a:ext>
                  </a:extLst>
                </p:cNvPr>
                <p:cNvGrpSpPr/>
                <p:nvPr/>
              </p:nvGrpSpPr>
              <p:grpSpPr>
                <a:xfrm>
                  <a:off x="6634097" y="3580123"/>
                  <a:ext cx="9942" cy="11304"/>
                  <a:chOff x="6634097" y="3580123"/>
                  <a:chExt cx="9942" cy="11304"/>
                </a:xfrm>
              </p:grpSpPr>
              <p:sp>
                <p:nvSpPr>
                  <p:cNvPr id="279" name="Freihandform 244">
                    <a:extLst>
                      <a:ext uri="{FF2B5EF4-FFF2-40B4-BE49-F238E27FC236}">
                        <a16:creationId xmlns:a16="http://schemas.microsoft.com/office/drawing/2014/main" id="{47E6F3B4-56FB-934D-7BED-EF745C683099}"/>
                      </a:ext>
                    </a:extLst>
                  </p:cNvPr>
                  <p:cNvSpPr/>
                  <p:nvPr/>
                </p:nvSpPr>
                <p:spPr>
                  <a:xfrm>
                    <a:off x="6634097"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80" name="Freihandform 245">
                    <a:extLst>
                      <a:ext uri="{FF2B5EF4-FFF2-40B4-BE49-F238E27FC236}">
                        <a16:creationId xmlns:a16="http://schemas.microsoft.com/office/drawing/2014/main" id="{349A770A-B0C0-7317-BD9A-283C13E8740B}"/>
                      </a:ext>
                    </a:extLst>
                  </p:cNvPr>
                  <p:cNvSpPr/>
                  <p:nvPr/>
                </p:nvSpPr>
                <p:spPr>
                  <a:xfrm>
                    <a:off x="6634097"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75" name="Freihandform 240">
                <a:extLst>
                  <a:ext uri="{FF2B5EF4-FFF2-40B4-BE49-F238E27FC236}">
                    <a16:creationId xmlns:a16="http://schemas.microsoft.com/office/drawing/2014/main" id="{FFD54620-096E-53C3-0B73-6AAD930FAEF8}"/>
                  </a:ext>
                </a:extLst>
              </p:cNvPr>
              <p:cNvSpPr/>
              <p:nvPr/>
            </p:nvSpPr>
            <p:spPr>
              <a:xfrm>
                <a:off x="6652857"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89" name="Grafik 15">
              <a:extLst>
                <a:ext uri="{FF2B5EF4-FFF2-40B4-BE49-F238E27FC236}">
                  <a16:creationId xmlns:a16="http://schemas.microsoft.com/office/drawing/2014/main" id="{88FF4C61-254F-6B3B-1A8C-319804B43FB0}"/>
                </a:ext>
              </a:extLst>
            </p:cNvPr>
            <p:cNvGrpSpPr/>
            <p:nvPr/>
          </p:nvGrpSpPr>
          <p:grpSpPr>
            <a:xfrm>
              <a:off x="6695275" y="3503158"/>
              <a:ext cx="57211" cy="100741"/>
              <a:chOff x="6695275" y="3503158"/>
              <a:chExt cx="57211" cy="100741"/>
            </a:xfrm>
          </p:grpSpPr>
          <p:sp>
            <p:nvSpPr>
              <p:cNvPr id="257" name="Freihandform 206">
                <a:extLst>
                  <a:ext uri="{FF2B5EF4-FFF2-40B4-BE49-F238E27FC236}">
                    <a16:creationId xmlns:a16="http://schemas.microsoft.com/office/drawing/2014/main" id="{A298DEDA-6538-97E1-A64C-81FB854F67F4}"/>
                  </a:ext>
                </a:extLst>
              </p:cNvPr>
              <p:cNvSpPr/>
              <p:nvPr/>
            </p:nvSpPr>
            <p:spPr>
              <a:xfrm>
                <a:off x="6695286"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58" name="Freihandform 207">
                <a:extLst>
                  <a:ext uri="{FF2B5EF4-FFF2-40B4-BE49-F238E27FC236}">
                    <a16:creationId xmlns:a16="http://schemas.microsoft.com/office/drawing/2014/main" id="{69E33867-8EDD-2944-7E8C-29C2A9628D31}"/>
                  </a:ext>
                </a:extLst>
              </p:cNvPr>
              <p:cNvSpPr/>
              <p:nvPr/>
            </p:nvSpPr>
            <p:spPr>
              <a:xfrm>
                <a:off x="6695286"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59" name="Freihandform 208">
                <a:extLst>
                  <a:ext uri="{FF2B5EF4-FFF2-40B4-BE49-F238E27FC236}">
                    <a16:creationId xmlns:a16="http://schemas.microsoft.com/office/drawing/2014/main" id="{AE9BA85F-3E60-CF29-6FEF-ABDAF5C44CE7}"/>
                  </a:ext>
                </a:extLst>
              </p:cNvPr>
              <p:cNvSpPr/>
              <p:nvPr/>
            </p:nvSpPr>
            <p:spPr>
              <a:xfrm>
                <a:off x="6705217"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60" name="Grafik 15">
                <a:extLst>
                  <a:ext uri="{FF2B5EF4-FFF2-40B4-BE49-F238E27FC236}">
                    <a16:creationId xmlns:a16="http://schemas.microsoft.com/office/drawing/2014/main" id="{23AC4FF6-8B16-EE3D-E766-2C1FAF9320BC}"/>
                  </a:ext>
                </a:extLst>
              </p:cNvPr>
              <p:cNvGrpSpPr/>
              <p:nvPr/>
            </p:nvGrpSpPr>
            <p:grpSpPr>
              <a:xfrm>
                <a:off x="6695275" y="3580123"/>
                <a:ext cx="57211" cy="11304"/>
                <a:chOff x="6695275" y="3580123"/>
                <a:chExt cx="57211" cy="11304"/>
              </a:xfrm>
            </p:grpSpPr>
            <p:grpSp>
              <p:nvGrpSpPr>
                <p:cNvPr id="262" name="Grafik 15">
                  <a:extLst>
                    <a:ext uri="{FF2B5EF4-FFF2-40B4-BE49-F238E27FC236}">
                      <a16:creationId xmlns:a16="http://schemas.microsoft.com/office/drawing/2014/main" id="{7DFC05C4-BB66-B1A0-D96F-12242F52768D}"/>
                    </a:ext>
                  </a:extLst>
                </p:cNvPr>
                <p:cNvGrpSpPr/>
                <p:nvPr/>
              </p:nvGrpSpPr>
              <p:grpSpPr>
                <a:xfrm>
                  <a:off x="6695275" y="3580123"/>
                  <a:ext cx="57097" cy="11304"/>
                  <a:chOff x="6695275" y="3580123"/>
                  <a:chExt cx="57097" cy="11304"/>
                </a:xfrm>
              </p:grpSpPr>
              <p:sp>
                <p:nvSpPr>
                  <p:cNvPr id="269" name="Freihandform 225">
                    <a:extLst>
                      <a:ext uri="{FF2B5EF4-FFF2-40B4-BE49-F238E27FC236}">
                        <a16:creationId xmlns:a16="http://schemas.microsoft.com/office/drawing/2014/main" id="{0DA1185F-0822-2ADF-4FCB-069081E28EA0}"/>
                      </a:ext>
                    </a:extLst>
                  </p:cNvPr>
                  <p:cNvSpPr/>
                  <p:nvPr/>
                </p:nvSpPr>
                <p:spPr>
                  <a:xfrm>
                    <a:off x="6695286"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70" name="Freihandform 235">
                    <a:extLst>
                      <a:ext uri="{FF2B5EF4-FFF2-40B4-BE49-F238E27FC236}">
                        <a16:creationId xmlns:a16="http://schemas.microsoft.com/office/drawing/2014/main" id="{D7A34E81-EDA2-8D1A-D896-CA899075382B}"/>
                      </a:ext>
                    </a:extLst>
                  </p:cNvPr>
                  <p:cNvSpPr/>
                  <p:nvPr/>
                </p:nvSpPr>
                <p:spPr>
                  <a:xfrm>
                    <a:off x="6695275"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63" name="Grafik 15">
                  <a:extLst>
                    <a:ext uri="{FF2B5EF4-FFF2-40B4-BE49-F238E27FC236}">
                      <a16:creationId xmlns:a16="http://schemas.microsoft.com/office/drawing/2014/main" id="{664E837A-E49C-0810-94E8-C4DD8DFB75DB}"/>
                    </a:ext>
                  </a:extLst>
                </p:cNvPr>
                <p:cNvGrpSpPr/>
                <p:nvPr/>
              </p:nvGrpSpPr>
              <p:grpSpPr>
                <a:xfrm>
                  <a:off x="6742532" y="3580123"/>
                  <a:ext cx="9953" cy="11304"/>
                  <a:chOff x="6742532" y="3580123"/>
                  <a:chExt cx="9953" cy="11304"/>
                </a:xfrm>
              </p:grpSpPr>
              <p:sp>
                <p:nvSpPr>
                  <p:cNvPr id="267" name="Freihandform 220">
                    <a:extLst>
                      <a:ext uri="{FF2B5EF4-FFF2-40B4-BE49-F238E27FC236}">
                        <a16:creationId xmlns:a16="http://schemas.microsoft.com/office/drawing/2014/main" id="{C4E1A660-4634-0899-CE29-6B4FA14E78CE}"/>
                      </a:ext>
                    </a:extLst>
                  </p:cNvPr>
                  <p:cNvSpPr/>
                  <p:nvPr/>
                </p:nvSpPr>
                <p:spPr>
                  <a:xfrm>
                    <a:off x="6742544"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68" name="Freihandform 223">
                    <a:extLst>
                      <a:ext uri="{FF2B5EF4-FFF2-40B4-BE49-F238E27FC236}">
                        <a16:creationId xmlns:a16="http://schemas.microsoft.com/office/drawing/2014/main" id="{D8D04E7E-8F11-9DB8-FA69-1256E67F6475}"/>
                      </a:ext>
                    </a:extLst>
                  </p:cNvPr>
                  <p:cNvSpPr/>
                  <p:nvPr/>
                </p:nvSpPr>
                <p:spPr>
                  <a:xfrm>
                    <a:off x="6742532"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64" name="Grafik 15">
                  <a:extLst>
                    <a:ext uri="{FF2B5EF4-FFF2-40B4-BE49-F238E27FC236}">
                      <a16:creationId xmlns:a16="http://schemas.microsoft.com/office/drawing/2014/main" id="{D09B65D8-D32A-D0ED-1F2E-EB40122AA323}"/>
                    </a:ext>
                  </a:extLst>
                </p:cNvPr>
                <p:cNvGrpSpPr/>
                <p:nvPr/>
              </p:nvGrpSpPr>
              <p:grpSpPr>
                <a:xfrm>
                  <a:off x="6695275" y="3580123"/>
                  <a:ext cx="9953" cy="11304"/>
                  <a:chOff x="6695275" y="3580123"/>
                  <a:chExt cx="9953" cy="11304"/>
                </a:xfrm>
              </p:grpSpPr>
              <p:sp>
                <p:nvSpPr>
                  <p:cNvPr id="265" name="Freihandform 217">
                    <a:extLst>
                      <a:ext uri="{FF2B5EF4-FFF2-40B4-BE49-F238E27FC236}">
                        <a16:creationId xmlns:a16="http://schemas.microsoft.com/office/drawing/2014/main" id="{9D7EACC1-FCF9-C0F6-9F67-ABD5348EAC33}"/>
                      </a:ext>
                    </a:extLst>
                  </p:cNvPr>
                  <p:cNvSpPr/>
                  <p:nvPr/>
                </p:nvSpPr>
                <p:spPr>
                  <a:xfrm>
                    <a:off x="6695286"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66" name="Freihandform 218">
                    <a:extLst>
                      <a:ext uri="{FF2B5EF4-FFF2-40B4-BE49-F238E27FC236}">
                        <a16:creationId xmlns:a16="http://schemas.microsoft.com/office/drawing/2014/main" id="{BCE6B557-05C5-94EF-F9F8-987A070AFB9C}"/>
                      </a:ext>
                    </a:extLst>
                  </p:cNvPr>
                  <p:cNvSpPr/>
                  <p:nvPr/>
                </p:nvSpPr>
                <p:spPr>
                  <a:xfrm>
                    <a:off x="6695275"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61" name="Freihandform 210">
                <a:extLst>
                  <a:ext uri="{FF2B5EF4-FFF2-40B4-BE49-F238E27FC236}">
                    <a16:creationId xmlns:a16="http://schemas.microsoft.com/office/drawing/2014/main" id="{5E976972-F882-7537-B837-8F5DD15396EE}"/>
                  </a:ext>
                </a:extLst>
              </p:cNvPr>
              <p:cNvSpPr/>
              <p:nvPr/>
            </p:nvSpPr>
            <p:spPr>
              <a:xfrm>
                <a:off x="6714034"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90" name="Grafik 15">
              <a:extLst>
                <a:ext uri="{FF2B5EF4-FFF2-40B4-BE49-F238E27FC236}">
                  <a16:creationId xmlns:a16="http://schemas.microsoft.com/office/drawing/2014/main" id="{8119E137-FBCF-F57B-2E7A-4BF9D4DFBEC7}"/>
                </a:ext>
              </a:extLst>
            </p:cNvPr>
            <p:cNvGrpSpPr/>
            <p:nvPr/>
          </p:nvGrpSpPr>
          <p:grpSpPr>
            <a:xfrm>
              <a:off x="6756463" y="3503158"/>
              <a:ext cx="57200" cy="100741"/>
              <a:chOff x="6756463" y="3503158"/>
              <a:chExt cx="57200" cy="100741"/>
            </a:xfrm>
          </p:grpSpPr>
          <p:sp>
            <p:nvSpPr>
              <p:cNvPr id="243" name="Freihandform 192">
                <a:extLst>
                  <a:ext uri="{FF2B5EF4-FFF2-40B4-BE49-F238E27FC236}">
                    <a16:creationId xmlns:a16="http://schemas.microsoft.com/office/drawing/2014/main" id="{08E4818E-5B30-C9E8-C98C-18FE47960021}"/>
                  </a:ext>
                </a:extLst>
              </p:cNvPr>
              <p:cNvSpPr/>
              <p:nvPr/>
            </p:nvSpPr>
            <p:spPr>
              <a:xfrm>
                <a:off x="6756463"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44" name="Freihandform 193">
                <a:extLst>
                  <a:ext uri="{FF2B5EF4-FFF2-40B4-BE49-F238E27FC236}">
                    <a16:creationId xmlns:a16="http://schemas.microsoft.com/office/drawing/2014/main" id="{914A6B71-17F5-35AD-3259-A32AA1F73888}"/>
                  </a:ext>
                </a:extLst>
              </p:cNvPr>
              <p:cNvSpPr/>
              <p:nvPr/>
            </p:nvSpPr>
            <p:spPr>
              <a:xfrm>
                <a:off x="6756463"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45" name="Freihandform 194">
                <a:extLst>
                  <a:ext uri="{FF2B5EF4-FFF2-40B4-BE49-F238E27FC236}">
                    <a16:creationId xmlns:a16="http://schemas.microsoft.com/office/drawing/2014/main" id="{7E2DE10A-6078-A4DB-05B4-39F3787EC74A}"/>
                  </a:ext>
                </a:extLst>
              </p:cNvPr>
              <p:cNvSpPr/>
              <p:nvPr/>
            </p:nvSpPr>
            <p:spPr>
              <a:xfrm>
                <a:off x="6766405"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46" name="Grafik 15">
                <a:extLst>
                  <a:ext uri="{FF2B5EF4-FFF2-40B4-BE49-F238E27FC236}">
                    <a16:creationId xmlns:a16="http://schemas.microsoft.com/office/drawing/2014/main" id="{7D2C619F-BD2E-B2C8-5EC6-9B3F31E1A00A}"/>
                  </a:ext>
                </a:extLst>
              </p:cNvPr>
              <p:cNvGrpSpPr/>
              <p:nvPr/>
            </p:nvGrpSpPr>
            <p:grpSpPr>
              <a:xfrm>
                <a:off x="6756463" y="3580123"/>
                <a:ext cx="57200" cy="11304"/>
                <a:chOff x="6756463" y="3580123"/>
                <a:chExt cx="57200" cy="11304"/>
              </a:xfrm>
            </p:grpSpPr>
            <p:grpSp>
              <p:nvGrpSpPr>
                <p:cNvPr id="248" name="Grafik 15">
                  <a:extLst>
                    <a:ext uri="{FF2B5EF4-FFF2-40B4-BE49-F238E27FC236}">
                      <a16:creationId xmlns:a16="http://schemas.microsoft.com/office/drawing/2014/main" id="{AF3EBF4A-9527-67BC-AF41-8AC6A7C93CB1}"/>
                    </a:ext>
                  </a:extLst>
                </p:cNvPr>
                <p:cNvGrpSpPr/>
                <p:nvPr/>
              </p:nvGrpSpPr>
              <p:grpSpPr>
                <a:xfrm>
                  <a:off x="6756463" y="3580123"/>
                  <a:ext cx="57086" cy="11304"/>
                  <a:chOff x="6756463" y="3580123"/>
                  <a:chExt cx="57086" cy="11304"/>
                </a:xfrm>
              </p:grpSpPr>
              <p:sp>
                <p:nvSpPr>
                  <p:cNvPr id="255" name="Freihandform 204">
                    <a:extLst>
                      <a:ext uri="{FF2B5EF4-FFF2-40B4-BE49-F238E27FC236}">
                        <a16:creationId xmlns:a16="http://schemas.microsoft.com/office/drawing/2014/main" id="{5A72F258-41D5-EA01-D016-426823234A5D}"/>
                      </a:ext>
                    </a:extLst>
                  </p:cNvPr>
                  <p:cNvSpPr/>
                  <p:nvPr/>
                </p:nvSpPr>
                <p:spPr>
                  <a:xfrm>
                    <a:off x="6756463"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56" name="Freihandform 205">
                    <a:extLst>
                      <a:ext uri="{FF2B5EF4-FFF2-40B4-BE49-F238E27FC236}">
                        <a16:creationId xmlns:a16="http://schemas.microsoft.com/office/drawing/2014/main" id="{8B795F94-1D40-B879-CF7E-946E27ECF009}"/>
                      </a:ext>
                    </a:extLst>
                  </p:cNvPr>
                  <p:cNvSpPr/>
                  <p:nvPr/>
                </p:nvSpPr>
                <p:spPr>
                  <a:xfrm>
                    <a:off x="6756463"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49" name="Grafik 15">
                  <a:extLst>
                    <a:ext uri="{FF2B5EF4-FFF2-40B4-BE49-F238E27FC236}">
                      <a16:creationId xmlns:a16="http://schemas.microsoft.com/office/drawing/2014/main" id="{3300F4C5-1E34-4803-4FE5-66A476934960}"/>
                    </a:ext>
                  </a:extLst>
                </p:cNvPr>
                <p:cNvGrpSpPr/>
                <p:nvPr/>
              </p:nvGrpSpPr>
              <p:grpSpPr>
                <a:xfrm>
                  <a:off x="6803721" y="3580123"/>
                  <a:ext cx="9942" cy="11304"/>
                  <a:chOff x="6803721" y="3580123"/>
                  <a:chExt cx="9942" cy="11304"/>
                </a:xfrm>
              </p:grpSpPr>
              <p:sp>
                <p:nvSpPr>
                  <p:cNvPr id="253" name="Freihandform 202">
                    <a:extLst>
                      <a:ext uri="{FF2B5EF4-FFF2-40B4-BE49-F238E27FC236}">
                        <a16:creationId xmlns:a16="http://schemas.microsoft.com/office/drawing/2014/main" id="{5BD0D54C-9E5B-8D8D-599C-BEAF272A18A9}"/>
                      </a:ext>
                    </a:extLst>
                  </p:cNvPr>
                  <p:cNvSpPr/>
                  <p:nvPr/>
                </p:nvSpPr>
                <p:spPr>
                  <a:xfrm>
                    <a:off x="6803721"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54" name="Freihandform 203">
                    <a:extLst>
                      <a:ext uri="{FF2B5EF4-FFF2-40B4-BE49-F238E27FC236}">
                        <a16:creationId xmlns:a16="http://schemas.microsoft.com/office/drawing/2014/main" id="{9CA26BC0-09C0-BA56-0FEF-1D54A725BACD}"/>
                      </a:ext>
                    </a:extLst>
                  </p:cNvPr>
                  <p:cNvSpPr/>
                  <p:nvPr/>
                </p:nvSpPr>
                <p:spPr>
                  <a:xfrm>
                    <a:off x="6803721"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50" name="Grafik 15">
                  <a:extLst>
                    <a:ext uri="{FF2B5EF4-FFF2-40B4-BE49-F238E27FC236}">
                      <a16:creationId xmlns:a16="http://schemas.microsoft.com/office/drawing/2014/main" id="{C646011C-DD08-C476-8335-530EC79AD412}"/>
                    </a:ext>
                  </a:extLst>
                </p:cNvPr>
                <p:cNvGrpSpPr/>
                <p:nvPr/>
              </p:nvGrpSpPr>
              <p:grpSpPr>
                <a:xfrm>
                  <a:off x="6756463" y="3580123"/>
                  <a:ext cx="9942" cy="11304"/>
                  <a:chOff x="6756463" y="3580123"/>
                  <a:chExt cx="9942" cy="11304"/>
                </a:xfrm>
              </p:grpSpPr>
              <p:sp>
                <p:nvSpPr>
                  <p:cNvPr id="251" name="Freihandform 200">
                    <a:extLst>
                      <a:ext uri="{FF2B5EF4-FFF2-40B4-BE49-F238E27FC236}">
                        <a16:creationId xmlns:a16="http://schemas.microsoft.com/office/drawing/2014/main" id="{825062D1-BA2D-17A6-75FB-527F80C9E090}"/>
                      </a:ext>
                    </a:extLst>
                  </p:cNvPr>
                  <p:cNvSpPr/>
                  <p:nvPr/>
                </p:nvSpPr>
                <p:spPr>
                  <a:xfrm>
                    <a:off x="6756463"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52" name="Freihandform 201">
                    <a:extLst>
                      <a:ext uri="{FF2B5EF4-FFF2-40B4-BE49-F238E27FC236}">
                        <a16:creationId xmlns:a16="http://schemas.microsoft.com/office/drawing/2014/main" id="{B577922B-8286-51F5-973E-A9C06059A41E}"/>
                      </a:ext>
                    </a:extLst>
                  </p:cNvPr>
                  <p:cNvSpPr/>
                  <p:nvPr/>
                </p:nvSpPr>
                <p:spPr>
                  <a:xfrm>
                    <a:off x="6756463"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47" name="Freihandform 196">
                <a:extLst>
                  <a:ext uri="{FF2B5EF4-FFF2-40B4-BE49-F238E27FC236}">
                    <a16:creationId xmlns:a16="http://schemas.microsoft.com/office/drawing/2014/main" id="{13E488F4-67A0-D94B-F96C-71BE6D5F2D4F}"/>
                  </a:ext>
                </a:extLst>
              </p:cNvPr>
              <p:cNvSpPr/>
              <p:nvPr/>
            </p:nvSpPr>
            <p:spPr>
              <a:xfrm>
                <a:off x="6775223"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91" name="Grafik 15">
              <a:extLst>
                <a:ext uri="{FF2B5EF4-FFF2-40B4-BE49-F238E27FC236}">
                  <a16:creationId xmlns:a16="http://schemas.microsoft.com/office/drawing/2014/main" id="{1E2BEAA0-F398-C6CC-E1B4-908BEA93AAFA}"/>
                </a:ext>
              </a:extLst>
            </p:cNvPr>
            <p:cNvGrpSpPr/>
            <p:nvPr/>
          </p:nvGrpSpPr>
          <p:grpSpPr>
            <a:xfrm>
              <a:off x="6817640" y="3503158"/>
              <a:ext cx="57200" cy="100741"/>
              <a:chOff x="6817640" y="3503158"/>
              <a:chExt cx="57200" cy="100741"/>
            </a:xfrm>
          </p:grpSpPr>
          <p:sp>
            <p:nvSpPr>
              <p:cNvPr id="229" name="Freihandform 178">
                <a:extLst>
                  <a:ext uri="{FF2B5EF4-FFF2-40B4-BE49-F238E27FC236}">
                    <a16:creationId xmlns:a16="http://schemas.microsoft.com/office/drawing/2014/main" id="{5848AFB6-F8E3-3536-6E5F-2EB1CE54751B}"/>
                  </a:ext>
                </a:extLst>
              </p:cNvPr>
              <p:cNvSpPr/>
              <p:nvPr/>
            </p:nvSpPr>
            <p:spPr>
              <a:xfrm>
                <a:off x="6817640"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30" name="Freihandform 179">
                <a:extLst>
                  <a:ext uri="{FF2B5EF4-FFF2-40B4-BE49-F238E27FC236}">
                    <a16:creationId xmlns:a16="http://schemas.microsoft.com/office/drawing/2014/main" id="{64E2FF67-1029-DF2B-0229-E190FEC92898}"/>
                  </a:ext>
                </a:extLst>
              </p:cNvPr>
              <p:cNvSpPr/>
              <p:nvPr/>
            </p:nvSpPr>
            <p:spPr>
              <a:xfrm>
                <a:off x="6817640"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31" name="Freihandform 180">
                <a:extLst>
                  <a:ext uri="{FF2B5EF4-FFF2-40B4-BE49-F238E27FC236}">
                    <a16:creationId xmlns:a16="http://schemas.microsoft.com/office/drawing/2014/main" id="{20FF422C-4301-9E75-DFF6-4374E04F8B8D}"/>
                  </a:ext>
                </a:extLst>
              </p:cNvPr>
              <p:cNvSpPr/>
              <p:nvPr/>
            </p:nvSpPr>
            <p:spPr>
              <a:xfrm>
                <a:off x="6827583"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32" name="Grafik 15">
                <a:extLst>
                  <a:ext uri="{FF2B5EF4-FFF2-40B4-BE49-F238E27FC236}">
                    <a16:creationId xmlns:a16="http://schemas.microsoft.com/office/drawing/2014/main" id="{886FF491-BB97-0A1D-4E32-2D0BE05B9E82}"/>
                  </a:ext>
                </a:extLst>
              </p:cNvPr>
              <p:cNvGrpSpPr/>
              <p:nvPr/>
            </p:nvGrpSpPr>
            <p:grpSpPr>
              <a:xfrm>
                <a:off x="6817640" y="3580123"/>
                <a:ext cx="57200" cy="11304"/>
                <a:chOff x="6817640" y="3580123"/>
                <a:chExt cx="57200" cy="11304"/>
              </a:xfrm>
            </p:grpSpPr>
            <p:grpSp>
              <p:nvGrpSpPr>
                <p:cNvPr id="234" name="Grafik 15">
                  <a:extLst>
                    <a:ext uri="{FF2B5EF4-FFF2-40B4-BE49-F238E27FC236}">
                      <a16:creationId xmlns:a16="http://schemas.microsoft.com/office/drawing/2014/main" id="{C0352C61-25DB-D4C0-C80B-ED1C7D7218F4}"/>
                    </a:ext>
                  </a:extLst>
                </p:cNvPr>
                <p:cNvGrpSpPr/>
                <p:nvPr/>
              </p:nvGrpSpPr>
              <p:grpSpPr>
                <a:xfrm>
                  <a:off x="6817640" y="3580123"/>
                  <a:ext cx="57086" cy="11304"/>
                  <a:chOff x="6817640" y="3580123"/>
                  <a:chExt cx="57086" cy="11304"/>
                </a:xfrm>
              </p:grpSpPr>
              <p:sp>
                <p:nvSpPr>
                  <p:cNvPr id="241" name="Freihandform 190">
                    <a:extLst>
                      <a:ext uri="{FF2B5EF4-FFF2-40B4-BE49-F238E27FC236}">
                        <a16:creationId xmlns:a16="http://schemas.microsoft.com/office/drawing/2014/main" id="{8F4BED8C-2BE3-B6ED-D916-B4A496EBF802}"/>
                      </a:ext>
                    </a:extLst>
                  </p:cNvPr>
                  <p:cNvSpPr/>
                  <p:nvPr/>
                </p:nvSpPr>
                <p:spPr>
                  <a:xfrm>
                    <a:off x="6817640"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42" name="Freihandform 191">
                    <a:extLst>
                      <a:ext uri="{FF2B5EF4-FFF2-40B4-BE49-F238E27FC236}">
                        <a16:creationId xmlns:a16="http://schemas.microsoft.com/office/drawing/2014/main" id="{D6D01B55-5D26-F01B-759C-32299B7895EE}"/>
                      </a:ext>
                    </a:extLst>
                  </p:cNvPr>
                  <p:cNvSpPr/>
                  <p:nvPr/>
                </p:nvSpPr>
                <p:spPr>
                  <a:xfrm>
                    <a:off x="6817640"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35" name="Grafik 15">
                  <a:extLst>
                    <a:ext uri="{FF2B5EF4-FFF2-40B4-BE49-F238E27FC236}">
                      <a16:creationId xmlns:a16="http://schemas.microsoft.com/office/drawing/2014/main" id="{29426FFD-B1FF-D706-4DD6-742D00D45C8D}"/>
                    </a:ext>
                  </a:extLst>
                </p:cNvPr>
                <p:cNvGrpSpPr/>
                <p:nvPr/>
              </p:nvGrpSpPr>
              <p:grpSpPr>
                <a:xfrm>
                  <a:off x="6864898" y="3580123"/>
                  <a:ext cx="9942" cy="11304"/>
                  <a:chOff x="6864898" y="3580123"/>
                  <a:chExt cx="9942" cy="11304"/>
                </a:xfrm>
              </p:grpSpPr>
              <p:sp>
                <p:nvSpPr>
                  <p:cNvPr id="239" name="Freihandform 188">
                    <a:extLst>
                      <a:ext uri="{FF2B5EF4-FFF2-40B4-BE49-F238E27FC236}">
                        <a16:creationId xmlns:a16="http://schemas.microsoft.com/office/drawing/2014/main" id="{E49BB1A3-8D83-2F23-86B7-F3799279F0B6}"/>
                      </a:ext>
                    </a:extLst>
                  </p:cNvPr>
                  <p:cNvSpPr/>
                  <p:nvPr/>
                </p:nvSpPr>
                <p:spPr>
                  <a:xfrm>
                    <a:off x="6864898"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40" name="Freihandform 189">
                    <a:extLst>
                      <a:ext uri="{FF2B5EF4-FFF2-40B4-BE49-F238E27FC236}">
                        <a16:creationId xmlns:a16="http://schemas.microsoft.com/office/drawing/2014/main" id="{D30601E7-C0B1-2E8B-C99D-64560D658F7C}"/>
                      </a:ext>
                    </a:extLst>
                  </p:cNvPr>
                  <p:cNvSpPr/>
                  <p:nvPr/>
                </p:nvSpPr>
                <p:spPr>
                  <a:xfrm>
                    <a:off x="6864898"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36" name="Grafik 15">
                  <a:extLst>
                    <a:ext uri="{FF2B5EF4-FFF2-40B4-BE49-F238E27FC236}">
                      <a16:creationId xmlns:a16="http://schemas.microsoft.com/office/drawing/2014/main" id="{806C958A-B7BF-D4D3-1CC1-8E1851E587A4}"/>
                    </a:ext>
                  </a:extLst>
                </p:cNvPr>
                <p:cNvGrpSpPr/>
                <p:nvPr/>
              </p:nvGrpSpPr>
              <p:grpSpPr>
                <a:xfrm>
                  <a:off x="6817640" y="3580123"/>
                  <a:ext cx="9942" cy="11304"/>
                  <a:chOff x="6817640" y="3580123"/>
                  <a:chExt cx="9942" cy="11304"/>
                </a:xfrm>
              </p:grpSpPr>
              <p:sp>
                <p:nvSpPr>
                  <p:cNvPr id="237" name="Freihandform 186">
                    <a:extLst>
                      <a:ext uri="{FF2B5EF4-FFF2-40B4-BE49-F238E27FC236}">
                        <a16:creationId xmlns:a16="http://schemas.microsoft.com/office/drawing/2014/main" id="{B9FB104E-96E4-1DC5-211B-B3EF231E24CA}"/>
                      </a:ext>
                    </a:extLst>
                  </p:cNvPr>
                  <p:cNvSpPr/>
                  <p:nvPr/>
                </p:nvSpPr>
                <p:spPr>
                  <a:xfrm>
                    <a:off x="6817640"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38" name="Freihandform 187">
                    <a:extLst>
                      <a:ext uri="{FF2B5EF4-FFF2-40B4-BE49-F238E27FC236}">
                        <a16:creationId xmlns:a16="http://schemas.microsoft.com/office/drawing/2014/main" id="{80C86BE6-5749-2D33-146F-21375AB7B711}"/>
                      </a:ext>
                    </a:extLst>
                  </p:cNvPr>
                  <p:cNvSpPr/>
                  <p:nvPr/>
                </p:nvSpPr>
                <p:spPr>
                  <a:xfrm>
                    <a:off x="6817640"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33" name="Freihandform 182">
                <a:extLst>
                  <a:ext uri="{FF2B5EF4-FFF2-40B4-BE49-F238E27FC236}">
                    <a16:creationId xmlns:a16="http://schemas.microsoft.com/office/drawing/2014/main" id="{D828BBE0-DE80-CF6D-8551-B5BBF10CBF3B}"/>
                  </a:ext>
                </a:extLst>
              </p:cNvPr>
              <p:cNvSpPr/>
              <p:nvPr/>
            </p:nvSpPr>
            <p:spPr>
              <a:xfrm>
                <a:off x="6836400"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92" name="Grafik 15">
              <a:extLst>
                <a:ext uri="{FF2B5EF4-FFF2-40B4-BE49-F238E27FC236}">
                  <a16:creationId xmlns:a16="http://schemas.microsoft.com/office/drawing/2014/main" id="{1EF25478-55B1-C99B-F865-A5003AFB9094}"/>
                </a:ext>
              </a:extLst>
            </p:cNvPr>
            <p:cNvGrpSpPr/>
            <p:nvPr/>
          </p:nvGrpSpPr>
          <p:grpSpPr>
            <a:xfrm>
              <a:off x="6878829" y="3503158"/>
              <a:ext cx="57200" cy="100741"/>
              <a:chOff x="6878829" y="3503158"/>
              <a:chExt cx="57200" cy="100741"/>
            </a:xfrm>
          </p:grpSpPr>
          <p:sp>
            <p:nvSpPr>
              <p:cNvPr id="215" name="Freihandform 163">
                <a:extLst>
                  <a:ext uri="{FF2B5EF4-FFF2-40B4-BE49-F238E27FC236}">
                    <a16:creationId xmlns:a16="http://schemas.microsoft.com/office/drawing/2014/main" id="{647407C0-4E7A-0C83-21DA-FF8AA00B6508}"/>
                  </a:ext>
                </a:extLst>
              </p:cNvPr>
              <p:cNvSpPr/>
              <p:nvPr/>
            </p:nvSpPr>
            <p:spPr>
              <a:xfrm>
                <a:off x="6878829"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16" name="Freihandform 164">
                <a:extLst>
                  <a:ext uri="{FF2B5EF4-FFF2-40B4-BE49-F238E27FC236}">
                    <a16:creationId xmlns:a16="http://schemas.microsoft.com/office/drawing/2014/main" id="{A9AA7253-F8DE-CB88-66D0-D1BC2D813FC1}"/>
                  </a:ext>
                </a:extLst>
              </p:cNvPr>
              <p:cNvSpPr/>
              <p:nvPr/>
            </p:nvSpPr>
            <p:spPr>
              <a:xfrm>
                <a:off x="6878829"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17" name="Freihandform 165">
                <a:extLst>
                  <a:ext uri="{FF2B5EF4-FFF2-40B4-BE49-F238E27FC236}">
                    <a16:creationId xmlns:a16="http://schemas.microsoft.com/office/drawing/2014/main" id="{81571BCA-89CB-5994-14F3-EF7C4F38509B}"/>
                  </a:ext>
                </a:extLst>
              </p:cNvPr>
              <p:cNvSpPr/>
              <p:nvPr/>
            </p:nvSpPr>
            <p:spPr>
              <a:xfrm>
                <a:off x="6888771"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18" name="Grafik 15">
                <a:extLst>
                  <a:ext uri="{FF2B5EF4-FFF2-40B4-BE49-F238E27FC236}">
                    <a16:creationId xmlns:a16="http://schemas.microsoft.com/office/drawing/2014/main" id="{EDF2E753-FD49-3571-9CD8-D7D12FC34427}"/>
                  </a:ext>
                </a:extLst>
              </p:cNvPr>
              <p:cNvGrpSpPr/>
              <p:nvPr/>
            </p:nvGrpSpPr>
            <p:grpSpPr>
              <a:xfrm>
                <a:off x="6878829" y="3580123"/>
                <a:ext cx="57200" cy="11304"/>
                <a:chOff x="6878829" y="3580123"/>
                <a:chExt cx="57200" cy="11304"/>
              </a:xfrm>
            </p:grpSpPr>
            <p:grpSp>
              <p:nvGrpSpPr>
                <p:cNvPr id="220" name="Grafik 15">
                  <a:extLst>
                    <a:ext uri="{FF2B5EF4-FFF2-40B4-BE49-F238E27FC236}">
                      <a16:creationId xmlns:a16="http://schemas.microsoft.com/office/drawing/2014/main" id="{848AD127-215D-3A27-C5A8-507FFBD1EBF2}"/>
                    </a:ext>
                  </a:extLst>
                </p:cNvPr>
                <p:cNvGrpSpPr/>
                <p:nvPr/>
              </p:nvGrpSpPr>
              <p:grpSpPr>
                <a:xfrm>
                  <a:off x="6878829" y="3580123"/>
                  <a:ext cx="57086" cy="11304"/>
                  <a:chOff x="6878829" y="3580123"/>
                  <a:chExt cx="57086" cy="11304"/>
                </a:xfrm>
              </p:grpSpPr>
              <p:sp>
                <p:nvSpPr>
                  <p:cNvPr id="227" name="Freihandform 175">
                    <a:extLst>
                      <a:ext uri="{FF2B5EF4-FFF2-40B4-BE49-F238E27FC236}">
                        <a16:creationId xmlns:a16="http://schemas.microsoft.com/office/drawing/2014/main" id="{1AFAAE6A-4ADD-1931-A7D7-F72F7C12FB4C}"/>
                      </a:ext>
                    </a:extLst>
                  </p:cNvPr>
                  <p:cNvSpPr/>
                  <p:nvPr/>
                </p:nvSpPr>
                <p:spPr>
                  <a:xfrm>
                    <a:off x="6878829"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28" name="Freihandform 176">
                    <a:extLst>
                      <a:ext uri="{FF2B5EF4-FFF2-40B4-BE49-F238E27FC236}">
                        <a16:creationId xmlns:a16="http://schemas.microsoft.com/office/drawing/2014/main" id="{AFFF77FD-FBC2-E8FA-ACD4-5F0497B7C785}"/>
                      </a:ext>
                    </a:extLst>
                  </p:cNvPr>
                  <p:cNvSpPr/>
                  <p:nvPr/>
                </p:nvSpPr>
                <p:spPr>
                  <a:xfrm>
                    <a:off x="6878829"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21" name="Grafik 15">
                  <a:extLst>
                    <a:ext uri="{FF2B5EF4-FFF2-40B4-BE49-F238E27FC236}">
                      <a16:creationId xmlns:a16="http://schemas.microsoft.com/office/drawing/2014/main" id="{94AC9CF6-D553-DB54-0A49-9B6A5BB7F6AA}"/>
                    </a:ext>
                  </a:extLst>
                </p:cNvPr>
                <p:cNvGrpSpPr/>
                <p:nvPr/>
              </p:nvGrpSpPr>
              <p:grpSpPr>
                <a:xfrm>
                  <a:off x="6926087" y="3580123"/>
                  <a:ext cx="9942" cy="11304"/>
                  <a:chOff x="6926087" y="3580123"/>
                  <a:chExt cx="9942" cy="11304"/>
                </a:xfrm>
              </p:grpSpPr>
              <p:sp>
                <p:nvSpPr>
                  <p:cNvPr id="225" name="Freihandform 173">
                    <a:extLst>
                      <a:ext uri="{FF2B5EF4-FFF2-40B4-BE49-F238E27FC236}">
                        <a16:creationId xmlns:a16="http://schemas.microsoft.com/office/drawing/2014/main" id="{5766E8F3-9516-532A-CB23-C1B672B64BF7}"/>
                      </a:ext>
                    </a:extLst>
                  </p:cNvPr>
                  <p:cNvSpPr/>
                  <p:nvPr/>
                </p:nvSpPr>
                <p:spPr>
                  <a:xfrm>
                    <a:off x="6926087"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26" name="Freihandform 174">
                    <a:extLst>
                      <a:ext uri="{FF2B5EF4-FFF2-40B4-BE49-F238E27FC236}">
                        <a16:creationId xmlns:a16="http://schemas.microsoft.com/office/drawing/2014/main" id="{74977355-4835-1B7F-552B-902DBAE70853}"/>
                      </a:ext>
                    </a:extLst>
                  </p:cNvPr>
                  <p:cNvSpPr/>
                  <p:nvPr/>
                </p:nvSpPr>
                <p:spPr>
                  <a:xfrm>
                    <a:off x="6926087"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22" name="Grafik 15">
                  <a:extLst>
                    <a:ext uri="{FF2B5EF4-FFF2-40B4-BE49-F238E27FC236}">
                      <a16:creationId xmlns:a16="http://schemas.microsoft.com/office/drawing/2014/main" id="{B817F2C3-1C4A-6BE6-E4A0-5136377296EE}"/>
                    </a:ext>
                  </a:extLst>
                </p:cNvPr>
                <p:cNvGrpSpPr/>
                <p:nvPr/>
              </p:nvGrpSpPr>
              <p:grpSpPr>
                <a:xfrm>
                  <a:off x="6878829" y="3580123"/>
                  <a:ext cx="9942" cy="11304"/>
                  <a:chOff x="6878829" y="3580123"/>
                  <a:chExt cx="9942" cy="11304"/>
                </a:xfrm>
              </p:grpSpPr>
              <p:sp>
                <p:nvSpPr>
                  <p:cNvPr id="223" name="Freihandform 171">
                    <a:extLst>
                      <a:ext uri="{FF2B5EF4-FFF2-40B4-BE49-F238E27FC236}">
                        <a16:creationId xmlns:a16="http://schemas.microsoft.com/office/drawing/2014/main" id="{DD90C521-6D05-70D7-B2B8-4893F9F92B64}"/>
                      </a:ext>
                    </a:extLst>
                  </p:cNvPr>
                  <p:cNvSpPr/>
                  <p:nvPr/>
                </p:nvSpPr>
                <p:spPr>
                  <a:xfrm>
                    <a:off x="6878829"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24" name="Freihandform 172">
                    <a:extLst>
                      <a:ext uri="{FF2B5EF4-FFF2-40B4-BE49-F238E27FC236}">
                        <a16:creationId xmlns:a16="http://schemas.microsoft.com/office/drawing/2014/main" id="{0DAD6009-86DA-1D13-E2C1-4EAE051C17F4}"/>
                      </a:ext>
                    </a:extLst>
                  </p:cNvPr>
                  <p:cNvSpPr/>
                  <p:nvPr/>
                </p:nvSpPr>
                <p:spPr>
                  <a:xfrm>
                    <a:off x="6878829"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19" name="Freihandform 167">
                <a:extLst>
                  <a:ext uri="{FF2B5EF4-FFF2-40B4-BE49-F238E27FC236}">
                    <a16:creationId xmlns:a16="http://schemas.microsoft.com/office/drawing/2014/main" id="{68C0E71F-F11E-527A-C065-6B07B127139C}"/>
                  </a:ext>
                </a:extLst>
              </p:cNvPr>
              <p:cNvSpPr/>
              <p:nvPr/>
            </p:nvSpPr>
            <p:spPr>
              <a:xfrm>
                <a:off x="6897589"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93" name="Grafik 15">
              <a:extLst>
                <a:ext uri="{FF2B5EF4-FFF2-40B4-BE49-F238E27FC236}">
                  <a16:creationId xmlns:a16="http://schemas.microsoft.com/office/drawing/2014/main" id="{34D418B9-00D4-8D9D-90D6-9882B8B27BF4}"/>
                </a:ext>
              </a:extLst>
            </p:cNvPr>
            <p:cNvGrpSpPr/>
            <p:nvPr/>
          </p:nvGrpSpPr>
          <p:grpSpPr>
            <a:xfrm>
              <a:off x="6940006" y="3503158"/>
              <a:ext cx="57200" cy="100741"/>
              <a:chOff x="6940006" y="3503158"/>
              <a:chExt cx="57200" cy="100741"/>
            </a:xfrm>
          </p:grpSpPr>
          <p:sp>
            <p:nvSpPr>
              <p:cNvPr id="201" name="Freihandform 149">
                <a:extLst>
                  <a:ext uri="{FF2B5EF4-FFF2-40B4-BE49-F238E27FC236}">
                    <a16:creationId xmlns:a16="http://schemas.microsoft.com/office/drawing/2014/main" id="{8CAD2901-3C7E-8FB6-3C87-8D51A000371F}"/>
                  </a:ext>
                </a:extLst>
              </p:cNvPr>
              <p:cNvSpPr/>
              <p:nvPr/>
            </p:nvSpPr>
            <p:spPr>
              <a:xfrm>
                <a:off x="6940006" y="3516333"/>
                <a:ext cx="57200" cy="87566"/>
              </a:xfrm>
              <a:custGeom>
                <a:avLst/>
                <a:gdLst>
                  <a:gd name="connsiteX0" fmla="*/ 0 w 57200"/>
                  <a:gd name="connsiteY0" fmla="*/ 0 h 87566"/>
                  <a:gd name="connsiteX1" fmla="*/ 57200 w 57200"/>
                  <a:gd name="connsiteY1" fmla="*/ 0 h 87566"/>
                  <a:gd name="connsiteX2" fmla="*/ 57200 w 57200"/>
                  <a:gd name="connsiteY2" fmla="*/ 87566 h 87566"/>
                  <a:gd name="connsiteX3" fmla="*/ 0 w 57200"/>
                  <a:gd name="connsiteY3" fmla="*/ 87566 h 87566"/>
                </a:gdLst>
                <a:ahLst/>
                <a:cxnLst>
                  <a:cxn ang="0">
                    <a:pos x="connsiteX0" y="connsiteY0"/>
                  </a:cxn>
                  <a:cxn ang="0">
                    <a:pos x="connsiteX1" y="connsiteY1"/>
                  </a:cxn>
                  <a:cxn ang="0">
                    <a:pos x="connsiteX2" y="connsiteY2"/>
                  </a:cxn>
                  <a:cxn ang="0">
                    <a:pos x="connsiteX3" y="connsiteY3"/>
                  </a:cxn>
                </a:cxnLst>
                <a:rect l="l" t="t" r="r" b="b"/>
                <a:pathLst>
                  <a:path w="57200" h="87566">
                    <a:moveTo>
                      <a:pt x="0" y="0"/>
                    </a:moveTo>
                    <a:lnTo>
                      <a:pt x="57200" y="0"/>
                    </a:lnTo>
                    <a:lnTo>
                      <a:pt x="57200" y="87566"/>
                    </a:lnTo>
                    <a:lnTo>
                      <a:pt x="0" y="87566"/>
                    </a:lnTo>
                    <a:close/>
                  </a:path>
                </a:pathLst>
              </a:custGeom>
              <a:solidFill>
                <a:srgbClr val="9C9F9F"/>
              </a:solidFill>
              <a:ln w="1131" cap="flat">
                <a:noFill/>
                <a:prstDash val="solid"/>
                <a:miter/>
              </a:ln>
            </p:spPr>
            <p:txBody>
              <a:bodyPr rtlCol="0" anchor="ctr"/>
              <a:lstStyle/>
              <a:p>
                <a:endParaRPr lang="de-DE"/>
              </a:p>
            </p:txBody>
          </p:sp>
          <p:sp>
            <p:nvSpPr>
              <p:cNvPr id="202" name="Freihandform 150">
                <a:extLst>
                  <a:ext uri="{FF2B5EF4-FFF2-40B4-BE49-F238E27FC236}">
                    <a16:creationId xmlns:a16="http://schemas.microsoft.com/office/drawing/2014/main" id="{4E183BFA-53DB-D2E4-6027-02F5E46BF851}"/>
                  </a:ext>
                </a:extLst>
              </p:cNvPr>
              <p:cNvSpPr/>
              <p:nvPr/>
            </p:nvSpPr>
            <p:spPr>
              <a:xfrm>
                <a:off x="6940006" y="3516333"/>
                <a:ext cx="57200" cy="63789"/>
              </a:xfrm>
              <a:custGeom>
                <a:avLst/>
                <a:gdLst>
                  <a:gd name="connsiteX0" fmla="*/ 0 w 57200"/>
                  <a:gd name="connsiteY0" fmla="*/ 0 h 63789"/>
                  <a:gd name="connsiteX1" fmla="*/ 57200 w 57200"/>
                  <a:gd name="connsiteY1" fmla="*/ 0 h 63789"/>
                  <a:gd name="connsiteX2" fmla="*/ 57200 w 57200"/>
                  <a:gd name="connsiteY2" fmla="*/ 63790 h 63789"/>
                  <a:gd name="connsiteX3" fmla="*/ 0 w 57200"/>
                  <a:gd name="connsiteY3" fmla="*/ 63790 h 63789"/>
                </a:gdLst>
                <a:ahLst/>
                <a:cxnLst>
                  <a:cxn ang="0">
                    <a:pos x="connsiteX0" y="connsiteY0"/>
                  </a:cxn>
                  <a:cxn ang="0">
                    <a:pos x="connsiteX1" y="connsiteY1"/>
                  </a:cxn>
                  <a:cxn ang="0">
                    <a:pos x="connsiteX2" y="connsiteY2"/>
                  </a:cxn>
                  <a:cxn ang="0">
                    <a:pos x="connsiteX3" y="connsiteY3"/>
                  </a:cxn>
                </a:cxnLst>
                <a:rect l="l" t="t" r="r" b="b"/>
                <a:pathLst>
                  <a:path w="57200" h="63789">
                    <a:moveTo>
                      <a:pt x="0" y="0"/>
                    </a:moveTo>
                    <a:lnTo>
                      <a:pt x="57200" y="0"/>
                    </a:lnTo>
                    <a:lnTo>
                      <a:pt x="57200" y="63790"/>
                    </a:lnTo>
                    <a:lnTo>
                      <a:pt x="0" y="63790"/>
                    </a:lnTo>
                    <a:close/>
                  </a:path>
                </a:pathLst>
              </a:custGeom>
              <a:solidFill>
                <a:srgbClr val="53514F"/>
              </a:solidFill>
              <a:ln w="1131" cap="flat">
                <a:noFill/>
                <a:prstDash val="solid"/>
                <a:miter/>
              </a:ln>
            </p:spPr>
            <p:txBody>
              <a:bodyPr rtlCol="0" anchor="ctr"/>
              <a:lstStyle/>
              <a:p>
                <a:endParaRPr lang="de-DE"/>
              </a:p>
            </p:txBody>
          </p:sp>
          <p:sp>
            <p:nvSpPr>
              <p:cNvPr id="203" name="Freihandform 151">
                <a:extLst>
                  <a:ext uri="{FF2B5EF4-FFF2-40B4-BE49-F238E27FC236}">
                    <a16:creationId xmlns:a16="http://schemas.microsoft.com/office/drawing/2014/main" id="{46E2BA7D-24F2-5ABD-DE89-C8FFEA47173B}"/>
                  </a:ext>
                </a:extLst>
              </p:cNvPr>
              <p:cNvSpPr/>
              <p:nvPr/>
            </p:nvSpPr>
            <p:spPr>
              <a:xfrm>
                <a:off x="6949948" y="3538511"/>
                <a:ext cx="37315" cy="41611"/>
              </a:xfrm>
              <a:custGeom>
                <a:avLst/>
                <a:gdLst>
                  <a:gd name="connsiteX0" fmla="*/ 0 w 37315"/>
                  <a:gd name="connsiteY0" fmla="*/ 0 h 41611"/>
                  <a:gd name="connsiteX1" fmla="*/ 37315 w 37315"/>
                  <a:gd name="connsiteY1" fmla="*/ 0 h 41611"/>
                  <a:gd name="connsiteX2" fmla="*/ 37315 w 37315"/>
                  <a:gd name="connsiteY2" fmla="*/ 41612 h 41611"/>
                  <a:gd name="connsiteX3" fmla="*/ 0 w 37315"/>
                  <a:gd name="connsiteY3" fmla="*/ 41612 h 41611"/>
                </a:gdLst>
                <a:ahLst/>
                <a:cxnLst>
                  <a:cxn ang="0">
                    <a:pos x="connsiteX0" y="connsiteY0"/>
                  </a:cxn>
                  <a:cxn ang="0">
                    <a:pos x="connsiteX1" y="connsiteY1"/>
                  </a:cxn>
                  <a:cxn ang="0">
                    <a:pos x="connsiteX2" y="connsiteY2"/>
                  </a:cxn>
                  <a:cxn ang="0">
                    <a:pos x="connsiteX3" y="connsiteY3"/>
                  </a:cxn>
                </a:cxnLst>
                <a:rect l="l" t="t" r="r" b="b"/>
                <a:pathLst>
                  <a:path w="37315" h="41611">
                    <a:moveTo>
                      <a:pt x="0" y="0"/>
                    </a:moveTo>
                    <a:lnTo>
                      <a:pt x="37315" y="0"/>
                    </a:lnTo>
                    <a:lnTo>
                      <a:pt x="37315" y="41612"/>
                    </a:lnTo>
                    <a:lnTo>
                      <a:pt x="0" y="41612"/>
                    </a:lnTo>
                    <a:close/>
                  </a:path>
                </a:pathLst>
              </a:custGeom>
              <a:solidFill>
                <a:srgbClr val="C3C3C4"/>
              </a:solidFill>
              <a:ln w="1131" cap="flat">
                <a:noFill/>
                <a:prstDash val="solid"/>
                <a:miter/>
              </a:ln>
            </p:spPr>
            <p:txBody>
              <a:bodyPr rtlCol="0" anchor="ctr"/>
              <a:lstStyle/>
              <a:p>
                <a:endParaRPr lang="de-DE"/>
              </a:p>
            </p:txBody>
          </p:sp>
          <p:grpSp>
            <p:nvGrpSpPr>
              <p:cNvPr id="204" name="Grafik 15">
                <a:extLst>
                  <a:ext uri="{FF2B5EF4-FFF2-40B4-BE49-F238E27FC236}">
                    <a16:creationId xmlns:a16="http://schemas.microsoft.com/office/drawing/2014/main" id="{CFAF3089-A2B7-9046-3C9F-45A0215AC216}"/>
                  </a:ext>
                </a:extLst>
              </p:cNvPr>
              <p:cNvGrpSpPr/>
              <p:nvPr/>
            </p:nvGrpSpPr>
            <p:grpSpPr>
              <a:xfrm>
                <a:off x="6940006" y="3580123"/>
                <a:ext cx="57200" cy="11304"/>
                <a:chOff x="6940006" y="3580123"/>
                <a:chExt cx="57200" cy="11304"/>
              </a:xfrm>
            </p:grpSpPr>
            <p:grpSp>
              <p:nvGrpSpPr>
                <p:cNvPr id="206" name="Grafik 15">
                  <a:extLst>
                    <a:ext uri="{FF2B5EF4-FFF2-40B4-BE49-F238E27FC236}">
                      <a16:creationId xmlns:a16="http://schemas.microsoft.com/office/drawing/2014/main" id="{B0920EC8-BB30-094C-EAAF-7D8397A0EC7B}"/>
                    </a:ext>
                  </a:extLst>
                </p:cNvPr>
                <p:cNvGrpSpPr/>
                <p:nvPr/>
              </p:nvGrpSpPr>
              <p:grpSpPr>
                <a:xfrm>
                  <a:off x="6940006" y="3580123"/>
                  <a:ext cx="57086" cy="11304"/>
                  <a:chOff x="6940006" y="3580123"/>
                  <a:chExt cx="57086" cy="11304"/>
                </a:xfrm>
              </p:grpSpPr>
              <p:sp>
                <p:nvSpPr>
                  <p:cNvPr id="213" name="Freihandform 161">
                    <a:extLst>
                      <a:ext uri="{FF2B5EF4-FFF2-40B4-BE49-F238E27FC236}">
                        <a16:creationId xmlns:a16="http://schemas.microsoft.com/office/drawing/2014/main" id="{684EAAC6-EC46-14AE-2F05-B744C50065F6}"/>
                      </a:ext>
                    </a:extLst>
                  </p:cNvPr>
                  <p:cNvSpPr/>
                  <p:nvPr/>
                </p:nvSpPr>
                <p:spPr>
                  <a:xfrm>
                    <a:off x="6940006" y="3580123"/>
                    <a:ext cx="57086" cy="11304"/>
                  </a:xfrm>
                  <a:custGeom>
                    <a:avLst/>
                    <a:gdLst>
                      <a:gd name="connsiteX0" fmla="*/ 0 w 57086"/>
                      <a:gd name="connsiteY0" fmla="*/ 0 h 11304"/>
                      <a:gd name="connsiteX1" fmla="*/ 57087 w 57086"/>
                      <a:gd name="connsiteY1" fmla="*/ 0 h 11304"/>
                      <a:gd name="connsiteX2" fmla="*/ 57087 w 57086"/>
                      <a:gd name="connsiteY2" fmla="*/ 11304 h 11304"/>
                      <a:gd name="connsiteX3" fmla="*/ 0 w 57086"/>
                      <a:gd name="connsiteY3" fmla="*/ 11304 h 11304"/>
                    </a:gdLst>
                    <a:ahLst/>
                    <a:cxnLst>
                      <a:cxn ang="0">
                        <a:pos x="connsiteX0" y="connsiteY0"/>
                      </a:cxn>
                      <a:cxn ang="0">
                        <a:pos x="connsiteX1" y="connsiteY1"/>
                      </a:cxn>
                      <a:cxn ang="0">
                        <a:pos x="connsiteX2" y="connsiteY2"/>
                      </a:cxn>
                      <a:cxn ang="0">
                        <a:pos x="connsiteX3" y="connsiteY3"/>
                      </a:cxn>
                    </a:cxnLst>
                    <a:rect l="l" t="t" r="r" b="b"/>
                    <a:pathLst>
                      <a:path w="57086" h="11304">
                        <a:moveTo>
                          <a:pt x="0" y="0"/>
                        </a:moveTo>
                        <a:lnTo>
                          <a:pt x="57087" y="0"/>
                        </a:lnTo>
                        <a:lnTo>
                          <a:pt x="57087"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14" name="Freihandform 162">
                    <a:extLst>
                      <a:ext uri="{FF2B5EF4-FFF2-40B4-BE49-F238E27FC236}">
                        <a16:creationId xmlns:a16="http://schemas.microsoft.com/office/drawing/2014/main" id="{D3CE9868-F6E6-93BB-43C0-9EF53FE26146}"/>
                      </a:ext>
                    </a:extLst>
                  </p:cNvPr>
                  <p:cNvSpPr/>
                  <p:nvPr/>
                </p:nvSpPr>
                <p:spPr>
                  <a:xfrm>
                    <a:off x="6940006" y="3580123"/>
                    <a:ext cx="57086" cy="11304"/>
                  </a:xfrm>
                  <a:custGeom>
                    <a:avLst/>
                    <a:gdLst>
                      <a:gd name="connsiteX0" fmla="*/ 55950 w 57086"/>
                      <a:gd name="connsiteY0" fmla="*/ 1134 h 11304"/>
                      <a:gd name="connsiteX1" fmla="*/ 55950 w 57086"/>
                      <a:gd name="connsiteY1" fmla="*/ 10170 h 11304"/>
                      <a:gd name="connsiteX2" fmla="*/ 1136 w 57086"/>
                      <a:gd name="connsiteY2" fmla="*/ 10170 h 11304"/>
                      <a:gd name="connsiteX3" fmla="*/ 1136 w 57086"/>
                      <a:gd name="connsiteY3" fmla="*/ 1134 h 11304"/>
                      <a:gd name="connsiteX4" fmla="*/ 55950 w 57086"/>
                      <a:gd name="connsiteY4" fmla="*/ 1134 h 11304"/>
                      <a:gd name="connsiteX5" fmla="*/ 57087 w 57086"/>
                      <a:gd name="connsiteY5" fmla="*/ 0 h 11304"/>
                      <a:gd name="connsiteX6" fmla="*/ 0 w 57086"/>
                      <a:gd name="connsiteY6" fmla="*/ 0 h 11304"/>
                      <a:gd name="connsiteX7" fmla="*/ 0 w 57086"/>
                      <a:gd name="connsiteY7" fmla="*/ 11304 h 11304"/>
                      <a:gd name="connsiteX8" fmla="*/ 57087 w 57086"/>
                      <a:gd name="connsiteY8" fmla="*/ 11304 h 11304"/>
                      <a:gd name="connsiteX9" fmla="*/ 57087 w 57086"/>
                      <a:gd name="connsiteY9" fmla="*/ 0 h 11304"/>
                      <a:gd name="connsiteX10" fmla="*/ 57087 w 57086"/>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86" h="11304">
                        <a:moveTo>
                          <a:pt x="55950" y="1134"/>
                        </a:moveTo>
                        <a:lnTo>
                          <a:pt x="55950" y="10170"/>
                        </a:lnTo>
                        <a:lnTo>
                          <a:pt x="1136" y="10170"/>
                        </a:lnTo>
                        <a:lnTo>
                          <a:pt x="1136" y="1134"/>
                        </a:lnTo>
                        <a:lnTo>
                          <a:pt x="55950" y="1134"/>
                        </a:lnTo>
                        <a:moveTo>
                          <a:pt x="57087" y="0"/>
                        </a:moveTo>
                        <a:lnTo>
                          <a:pt x="0" y="0"/>
                        </a:lnTo>
                        <a:lnTo>
                          <a:pt x="0" y="11304"/>
                        </a:lnTo>
                        <a:lnTo>
                          <a:pt x="57087" y="11304"/>
                        </a:lnTo>
                        <a:lnTo>
                          <a:pt x="57087" y="0"/>
                        </a:lnTo>
                        <a:lnTo>
                          <a:pt x="57087" y="0"/>
                        </a:lnTo>
                        <a:close/>
                      </a:path>
                    </a:pathLst>
                  </a:custGeom>
                  <a:solidFill>
                    <a:srgbClr val="53514F"/>
                  </a:solidFill>
                  <a:ln w="1131" cap="flat">
                    <a:noFill/>
                    <a:prstDash val="solid"/>
                    <a:miter/>
                  </a:ln>
                </p:spPr>
                <p:txBody>
                  <a:bodyPr rtlCol="0" anchor="ctr"/>
                  <a:lstStyle/>
                  <a:p>
                    <a:endParaRPr lang="de-DE"/>
                  </a:p>
                </p:txBody>
              </p:sp>
            </p:grpSp>
            <p:grpSp>
              <p:nvGrpSpPr>
                <p:cNvPr id="207" name="Grafik 15">
                  <a:extLst>
                    <a:ext uri="{FF2B5EF4-FFF2-40B4-BE49-F238E27FC236}">
                      <a16:creationId xmlns:a16="http://schemas.microsoft.com/office/drawing/2014/main" id="{27805A35-5C12-7E08-6BFA-F3F465C212F9}"/>
                    </a:ext>
                  </a:extLst>
                </p:cNvPr>
                <p:cNvGrpSpPr/>
                <p:nvPr/>
              </p:nvGrpSpPr>
              <p:grpSpPr>
                <a:xfrm>
                  <a:off x="6987264" y="3580123"/>
                  <a:ext cx="9942" cy="11304"/>
                  <a:chOff x="6987264" y="3580123"/>
                  <a:chExt cx="9942" cy="11304"/>
                </a:xfrm>
              </p:grpSpPr>
              <p:sp>
                <p:nvSpPr>
                  <p:cNvPr id="211" name="Freihandform 159">
                    <a:extLst>
                      <a:ext uri="{FF2B5EF4-FFF2-40B4-BE49-F238E27FC236}">
                        <a16:creationId xmlns:a16="http://schemas.microsoft.com/office/drawing/2014/main" id="{9730FDE1-5D42-E47D-541F-2CABE319033E}"/>
                      </a:ext>
                    </a:extLst>
                  </p:cNvPr>
                  <p:cNvSpPr/>
                  <p:nvPr/>
                </p:nvSpPr>
                <p:spPr>
                  <a:xfrm>
                    <a:off x="6987264"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12" name="Freihandform 160">
                    <a:extLst>
                      <a:ext uri="{FF2B5EF4-FFF2-40B4-BE49-F238E27FC236}">
                        <a16:creationId xmlns:a16="http://schemas.microsoft.com/office/drawing/2014/main" id="{80D3EE79-2DF8-C874-38F8-BA0384DEBF72}"/>
                      </a:ext>
                    </a:extLst>
                  </p:cNvPr>
                  <p:cNvSpPr/>
                  <p:nvPr/>
                </p:nvSpPr>
                <p:spPr>
                  <a:xfrm>
                    <a:off x="6987264"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nvGrpSpPr>
                <p:cNvPr id="208" name="Grafik 15">
                  <a:extLst>
                    <a:ext uri="{FF2B5EF4-FFF2-40B4-BE49-F238E27FC236}">
                      <a16:creationId xmlns:a16="http://schemas.microsoft.com/office/drawing/2014/main" id="{55E9C1C8-066B-B2E4-2DB1-7E79023494F3}"/>
                    </a:ext>
                  </a:extLst>
                </p:cNvPr>
                <p:cNvGrpSpPr/>
                <p:nvPr/>
              </p:nvGrpSpPr>
              <p:grpSpPr>
                <a:xfrm>
                  <a:off x="6940006" y="3580123"/>
                  <a:ext cx="9942" cy="11304"/>
                  <a:chOff x="6940006" y="3580123"/>
                  <a:chExt cx="9942" cy="11304"/>
                </a:xfrm>
              </p:grpSpPr>
              <p:sp>
                <p:nvSpPr>
                  <p:cNvPr id="209" name="Freihandform 157">
                    <a:extLst>
                      <a:ext uri="{FF2B5EF4-FFF2-40B4-BE49-F238E27FC236}">
                        <a16:creationId xmlns:a16="http://schemas.microsoft.com/office/drawing/2014/main" id="{0F169573-42AF-5282-A587-FEA673214EEB}"/>
                      </a:ext>
                    </a:extLst>
                  </p:cNvPr>
                  <p:cNvSpPr/>
                  <p:nvPr/>
                </p:nvSpPr>
                <p:spPr>
                  <a:xfrm>
                    <a:off x="6940006" y="3580123"/>
                    <a:ext cx="9942" cy="11304"/>
                  </a:xfrm>
                  <a:custGeom>
                    <a:avLst/>
                    <a:gdLst>
                      <a:gd name="connsiteX0" fmla="*/ 0 w 9942"/>
                      <a:gd name="connsiteY0" fmla="*/ 0 h 11304"/>
                      <a:gd name="connsiteX1" fmla="*/ 9942 w 9942"/>
                      <a:gd name="connsiteY1" fmla="*/ 0 h 11304"/>
                      <a:gd name="connsiteX2" fmla="*/ 9942 w 9942"/>
                      <a:gd name="connsiteY2" fmla="*/ 11304 h 11304"/>
                      <a:gd name="connsiteX3" fmla="*/ 0 w 9942"/>
                      <a:gd name="connsiteY3" fmla="*/ 11304 h 11304"/>
                    </a:gdLst>
                    <a:ahLst/>
                    <a:cxnLst>
                      <a:cxn ang="0">
                        <a:pos x="connsiteX0" y="connsiteY0"/>
                      </a:cxn>
                      <a:cxn ang="0">
                        <a:pos x="connsiteX1" y="connsiteY1"/>
                      </a:cxn>
                      <a:cxn ang="0">
                        <a:pos x="connsiteX2" y="connsiteY2"/>
                      </a:cxn>
                      <a:cxn ang="0">
                        <a:pos x="connsiteX3" y="connsiteY3"/>
                      </a:cxn>
                    </a:cxnLst>
                    <a:rect l="l" t="t" r="r" b="b"/>
                    <a:pathLst>
                      <a:path w="9942" h="11304">
                        <a:moveTo>
                          <a:pt x="0" y="0"/>
                        </a:moveTo>
                        <a:lnTo>
                          <a:pt x="9942" y="0"/>
                        </a:lnTo>
                        <a:lnTo>
                          <a:pt x="9942" y="11304"/>
                        </a:lnTo>
                        <a:lnTo>
                          <a:pt x="0" y="11304"/>
                        </a:lnTo>
                        <a:close/>
                      </a:path>
                    </a:pathLst>
                  </a:custGeom>
                  <a:solidFill>
                    <a:srgbClr val="7A7A79"/>
                  </a:solidFill>
                  <a:ln w="1131" cap="flat">
                    <a:noFill/>
                    <a:prstDash val="solid"/>
                    <a:miter/>
                  </a:ln>
                </p:spPr>
                <p:txBody>
                  <a:bodyPr rtlCol="0" anchor="ctr"/>
                  <a:lstStyle/>
                  <a:p>
                    <a:endParaRPr lang="de-DE"/>
                  </a:p>
                </p:txBody>
              </p:sp>
              <p:sp>
                <p:nvSpPr>
                  <p:cNvPr id="210" name="Freihandform 158">
                    <a:extLst>
                      <a:ext uri="{FF2B5EF4-FFF2-40B4-BE49-F238E27FC236}">
                        <a16:creationId xmlns:a16="http://schemas.microsoft.com/office/drawing/2014/main" id="{3DEA764D-56E1-4915-3674-F13DFB61F02E}"/>
                      </a:ext>
                    </a:extLst>
                  </p:cNvPr>
                  <p:cNvSpPr/>
                  <p:nvPr/>
                </p:nvSpPr>
                <p:spPr>
                  <a:xfrm>
                    <a:off x="6940006" y="3580123"/>
                    <a:ext cx="9942" cy="11304"/>
                  </a:xfrm>
                  <a:custGeom>
                    <a:avLst/>
                    <a:gdLst>
                      <a:gd name="connsiteX0" fmla="*/ 8806 w 9942"/>
                      <a:gd name="connsiteY0" fmla="*/ 1134 h 11304"/>
                      <a:gd name="connsiteX1" fmla="*/ 8806 w 9942"/>
                      <a:gd name="connsiteY1" fmla="*/ 10170 h 11304"/>
                      <a:gd name="connsiteX2" fmla="*/ 1136 w 9942"/>
                      <a:gd name="connsiteY2" fmla="*/ 10170 h 11304"/>
                      <a:gd name="connsiteX3" fmla="*/ 1136 w 9942"/>
                      <a:gd name="connsiteY3" fmla="*/ 1134 h 11304"/>
                      <a:gd name="connsiteX4" fmla="*/ 8806 w 9942"/>
                      <a:gd name="connsiteY4" fmla="*/ 1134 h 11304"/>
                      <a:gd name="connsiteX5" fmla="*/ 9942 w 9942"/>
                      <a:gd name="connsiteY5" fmla="*/ 0 h 11304"/>
                      <a:gd name="connsiteX6" fmla="*/ 0 w 9942"/>
                      <a:gd name="connsiteY6" fmla="*/ 0 h 11304"/>
                      <a:gd name="connsiteX7" fmla="*/ 0 w 9942"/>
                      <a:gd name="connsiteY7" fmla="*/ 11304 h 11304"/>
                      <a:gd name="connsiteX8" fmla="*/ 9942 w 9942"/>
                      <a:gd name="connsiteY8" fmla="*/ 11304 h 11304"/>
                      <a:gd name="connsiteX9" fmla="*/ 9942 w 9942"/>
                      <a:gd name="connsiteY9" fmla="*/ 0 h 11304"/>
                      <a:gd name="connsiteX10" fmla="*/ 9942 w 9942"/>
                      <a:gd name="connsiteY10" fmla="*/ 0 h 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2" h="11304">
                        <a:moveTo>
                          <a:pt x="8806" y="1134"/>
                        </a:moveTo>
                        <a:lnTo>
                          <a:pt x="8806" y="10170"/>
                        </a:lnTo>
                        <a:lnTo>
                          <a:pt x="1136" y="10170"/>
                        </a:lnTo>
                        <a:lnTo>
                          <a:pt x="1136" y="1134"/>
                        </a:lnTo>
                        <a:lnTo>
                          <a:pt x="8806" y="1134"/>
                        </a:lnTo>
                        <a:moveTo>
                          <a:pt x="9942" y="0"/>
                        </a:moveTo>
                        <a:lnTo>
                          <a:pt x="0" y="0"/>
                        </a:lnTo>
                        <a:lnTo>
                          <a:pt x="0" y="11304"/>
                        </a:lnTo>
                        <a:lnTo>
                          <a:pt x="9942" y="11304"/>
                        </a:lnTo>
                        <a:lnTo>
                          <a:pt x="9942" y="0"/>
                        </a:lnTo>
                        <a:lnTo>
                          <a:pt x="9942" y="0"/>
                        </a:lnTo>
                        <a:close/>
                      </a:path>
                    </a:pathLst>
                  </a:custGeom>
                  <a:solidFill>
                    <a:srgbClr val="53514F"/>
                  </a:solidFill>
                  <a:ln w="1131" cap="flat">
                    <a:noFill/>
                    <a:prstDash val="solid"/>
                    <a:miter/>
                  </a:ln>
                </p:spPr>
                <p:txBody>
                  <a:bodyPr rtlCol="0" anchor="ctr"/>
                  <a:lstStyle/>
                  <a:p>
                    <a:endParaRPr lang="de-DE"/>
                  </a:p>
                </p:txBody>
              </p:sp>
            </p:grpSp>
          </p:grpSp>
          <p:sp>
            <p:nvSpPr>
              <p:cNvPr id="205" name="Freihandform 153">
                <a:extLst>
                  <a:ext uri="{FF2B5EF4-FFF2-40B4-BE49-F238E27FC236}">
                    <a16:creationId xmlns:a16="http://schemas.microsoft.com/office/drawing/2014/main" id="{84E29563-81B5-3767-438E-67C9F2BF9BAF}"/>
                  </a:ext>
                </a:extLst>
              </p:cNvPr>
              <p:cNvSpPr/>
              <p:nvPr/>
            </p:nvSpPr>
            <p:spPr>
              <a:xfrm>
                <a:off x="6958766" y="3503158"/>
                <a:ext cx="19680" cy="8934"/>
              </a:xfrm>
              <a:custGeom>
                <a:avLst/>
                <a:gdLst>
                  <a:gd name="connsiteX0" fmla="*/ 0 w 19680"/>
                  <a:gd name="connsiteY0" fmla="*/ 0 h 8934"/>
                  <a:gd name="connsiteX1" fmla="*/ 19680 w 19680"/>
                  <a:gd name="connsiteY1" fmla="*/ 0 h 8934"/>
                  <a:gd name="connsiteX2" fmla="*/ 19680 w 19680"/>
                  <a:gd name="connsiteY2" fmla="*/ 8935 h 8934"/>
                  <a:gd name="connsiteX3" fmla="*/ 0 w 19680"/>
                  <a:gd name="connsiteY3" fmla="*/ 8935 h 8934"/>
                </a:gdLst>
                <a:ahLst/>
                <a:cxnLst>
                  <a:cxn ang="0">
                    <a:pos x="connsiteX0" y="connsiteY0"/>
                  </a:cxn>
                  <a:cxn ang="0">
                    <a:pos x="connsiteX1" y="connsiteY1"/>
                  </a:cxn>
                  <a:cxn ang="0">
                    <a:pos x="connsiteX2" y="connsiteY2"/>
                  </a:cxn>
                  <a:cxn ang="0">
                    <a:pos x="connsiteX3" y="connsiteY3"/>
                  </a:cxn>
                </a:cxnLst>
                <a:rect l="l" t="t" r="r" b="b"/>
                <a:pathLst>
                  <a:path w="19680" h="8934">
                    <a:moveTo>
                      <a:pt x="0" y="0"/>
                    </a:moveTo>
                    <a:lnTo>
                      <a:pt x="19680" y="0"/>
                    </a:lnTo>
                    <a:lnTo>
                      <a:pt x="19680" y="8935"/>
                    </a:lnTo>
                    <a:lnTo>
                      <a:pt x="0" y="8935"/>
                    </a:lnTo>
                    <a:close/>
                  </a:path>
                </a:pathLst>
              </a:custGeom>
              <a:solidFill>
                <a:srgbClr val="C3C3C4"/>
              </a:solidFill>
              <a:ln w="1131" cap="flat">
                <a:noFill/>
                <a:prstDash val="solid"/>
                <a:miter/>
              </a:ln>
            </p:spPr>
            <p:txBody>
              <a:bodyPr rtlCol="0" anchor="ctr"/>
              <a:lstStyle/>
              <a:p>
                <a:endParaRPr lang="de-DE"/>
              </a:p>
            </p:txBody>
          </p:sp>
        </p:grpSp>
        <p:grpSp>
          <p:nvGrpSpPr>
            <p:cNvPr id="194" name="Grafik 15">
              <a:extLst>
                <a:ext uri="{FF2B5EF4-FFF2-40B4-BE49-F238E27FC236}">
                  <a16:creationId xmlns:a16="http://schemas.microsoft.com/office/drawing/2014/main" id="{F4928D9C-8927-C3DD-93C5-43F5F290A9B8}"/>
                </a:ext>
              </a:extLst>
            </p:cNvPr>
            <p:cNvGrpSpPr/>
            <p:nvPr/>
          </p:nvGrpSpPr>
          <p:grpSpPr>
            <a:xfrm>
              <a:off x="7080234" y="3520188"/>
              <a:ext cx="81277" cy="30398"/>
              <a:chOff x="7080234" y="3520188"/>
              <a:chExt cx="81277" cy="30398"/>
            </a:xfrm>
            <a:solidFill>
              <a:srgbClr val="D5EEF9"/>
            </a:solidFill>
          </p:grpSpPr>
          <p:grpSp>
            <p:nvGrpSpPr>
              <p:cNvPr id="195" name="Grafik 15">
                <a:extLst>
                  <a:ext uri="{FF2B5EF4-FFF2-40B4-BE49-F238E27FC236}">
                    <a16:creationId xmlns:a16="http://schemas.microsoft.com/office/drawing/2014/main" id="{FC77AC58-C136-54F2-CA3F-7ADDEDA10C68}"/>
                  </a:ext>
                </a:extLst>
              </p:cNvPr>
              <p:cNvGrpSpPr/>
              <p:nvPr/>
            </p:nvGrpSpPr>
            <p:grpSpPr>
              <a:xfrm>
                <a:off x="7080234" y="3520188"/>
                <a:ext cx="35485" cy="30398"/>
                <a:chOff x="7080234" y="3520188"/>
                <a:chExt cx="35485" cy="30398"/>
              </a:xfrm>
              <a:solidFill>
                <a:srgbClr val="D5EEF9"/>
              </a:solidFill>
            </p:grpSpPr>
            <p:sp>
              <p:nvSpPr>
                <p:cNvPr id="199" name="Freihandform 147">
                  <a:extLst>
                    <a:ext uri="{FF2B5EF4-FFF2-40B4-BE49-F238E27FC236}">
                      <a16:creationId xmlns:a16="http://schemas.microsoft.com/office/drawing/2014/main" id="{1810590A-0FBF-3DB7-E5E7-1F9BC6D8E29B}"/>
                    </a:ext>
                  </a:extLst>
                </p:cNvPr>
                <p:cNvSpPr/>
                <p:nvPr/>
              </p:nvSpPr>
              <p:spPr>
                <a:xfrm>
                  <a:off x="7080234" y="3520188"/>
                  <a:ext cx="16612" cy="30398"/>
                </a:xfrm>
                <a:custGeom>
                  <a:avLst/>
                  <a:gdLst>
                    <a:gd name="connsiteX0" fmla="*/ 0 w 16612"/>
                    <a:gd name="connsiteY0" fmla="*/ 0 h 30398"/>
                    <a:gd name="connsiteX1" fmla="*/ 16612 w 16612"/>
                    <a:gd name="connsiteY1" fmla="*/ 0 h 30398"/>
                    <a:gd name="connsiteX2" fmla="*/ 16612 w 16612"/>
                    <a:gd name="connsiteY2" fmla="*/ 30398 h 30398"/>
                    <a:gd name="connsiteX3" fmla="*/ 0 w 16612"/>
                    <a:gd name="connsiteY3" fmla="*/ 30398 h 30398"/>
                  </a:gdLst>
                  <a:ahLst/>
                  <a:cxnLst>
                    <a:cxn ang="0">
                      <a:pos x="connsiteX0" y="connsiteY0"/>
                    </a:cxn>
                    <a:cxn ang="0">
                      <a:pos x="connsiteX1" y="connsiteY1"/>
                    </a:cxn>
                    <a:cxn ang="0">
                      <a:pos x="connsiteX2" y="connsiteY2"/>
                    </a:cxn>
                    <a:cxn ang="0">
                      <a:pos x="connsiteX3" y="connsiteY3"/>
                    </a:cxn>
                  </a:cxnLst>
                  <a:rect l="l" t="t" r="r" b="b"/>
                  <a:pathLst>
                    <a:path w="16612" h="30398">
                      <a:moveTo>
                        <a:pt x="0" y="0"/>
                      </a:moveTo>
                      <a:lnTo>
                        <a:pt x="16612" y="0"/>
                      </a:lnTo>
                      <a:lnTo>
                        <a:pt x="16612" y="30398"/>
                      </a:lnTo>
                      <a:lnTo>
                        <a:pt x="0" y="30398"/>
                      </a:lnTo>
                      <a:close/>
                    </a:path>
                  </a:pathLst>
                </a:custGeom>
                <a:solidFill>
                  <a:srgbClr val="D5EEF9"/>
                </a:solidFill>
                <a:ln w="1131" cap="flat">
                  <a:noFill/>
                  <a:prstDash val="solid"/>
                  <a:miter/>
                </a:ln>
              </p:spPr>
              <p:txBody>
                <a:bodyPr rtlCol="0" anchor="ctr"/>
                <a:lstStyle/>
                <a:p>
                  <a:endParaRPr lang="de-DE"/>
                </a:p>
              </p:txBody>
            </p:sp>
            <p:sp>
              <p:nvSpPr>
                <p:cNvPr id="200" name="Freihandform 148">
                  <a:extLst>
                    <a:ext uri="{FF2B5EF4-FFF2-40B4-BE49-F238E27FC236}">
                      <a16:creationId xmlns:a16="http://schemas.microsoft.com/office/drawing/2014/main" id="{1D304011-6398-CD82-F8F7-0D69A9E4A1C5}"/>
                    </a:ext>
                  </a:extLst>
                </p:cNvPr>
                <p:cNvSpPr/>
                <p:nvPr/>
              </p:nvSpPr>
              <p:spPr>
                <a:xfrm>
                  <a:off x="7099107" y="3520188"/>
                  <a:ext cx="16612" cy="30398"/>
                </a:xfrm>
                <a:custGeom>
                  <a:avLst/>
                  <a:gdLst>
                    <a:gd name="connsiteX0" fmla="*/ 0 w 16612"/>
                    <a:gd name="connsiteY0" fmla="*/ 0 h 30398"/>
                    <a:gd name="connsiteX1" fmla="*/ 16612 w 16612"/>
                    <a:gd name="connsiteY1" fmla="*/ 0 h 30398"/>
                    <a:gd name="connsiteX2" fmla="*/ 16612 w 16612"/>
                    <a:gd name="connsiteY2" fmla="*/ 30398 h 30398"/>
                    <a:gd name="connsiteX3" fmla="*/ 0 w 16612"/>
                    <a:gd name="connsiteY3" fmla="*/ 30398 h 30398"/>
                  </a:gdLst>
                  <a:ahLst/>
                  <a:cxnLst>
                    <a:cxn ang="0">
                      <a:pos x="connsiteX0" y="connsiteY0"/>
                    </a:cxn>
                    <a:cxn ang="0">
                      <a:pos x="connsiteX1" y="connsiteY1"/>
                    </a:cxn>
                    <a:cxn ang="0">
                      <a:pos x="connsiteX2" y="connsiteY2"/>
                    </a:cxn>
                    <a:cxn ang="0">
                      <a:pos x="connsiteX3" y="connsiteY3"/>
                    </a:cxn>
                  </a:cxnLst>
                  <a:rect l="l" t="t" r="r" b="b"/>
                  <a:pathLst>
                    <a:path w="16612" h="30398">
                      <a:moveTo>
                        <a:pt x="0" y="0"/>
                      </a:moveTo>
                      <a:lnTo>
                        <a:pt x="16612" y="0"/>
                      </a:lnTo>
                      <a:lnTo>
                        <a:pt x="16612" y="30398"/>
                      </a:lnTo>
                      <a:lnTo>
                        <a:pt x="0" y="30398"/>
                      </a:lnTo>
                      <a:close/>
                    </a:path>
                  </a:pathLst>
                </a:custGeom>
                <a:solidFill>
                  <a:srgbClr val="D5EEF9"/>
                </a:solidFill>
                <a:ln w="1131" cap="flat">
                  <a:noFill/>
                  <a:prstDash val="solid"/>
                  <a:miter/>
                </a:ln>
              </p:spPr>
              <p:txBody>
                <a:bodyPr rtlCol="0" anchor="ctr"/>
                <a:lstStyle/>
                <a:p>
                  <a:endParaRPr lang="de-DE"/>
                </a:p>
              </p:txBody>
            </p:sp>
          </p:grpSp>
          <p:grpSp>
            <p:nvGrpSpPr>
              <p:cNvPr id="196" name="Grafik 15">
                <a:extLst>
                  <a:ext uri="{FF2B5EF4-FFF2-40B4-BE49-F238E27FC236}">
                    <a16:creationId xmlns:a16="http://schemas.microsoft.com/office/drawing/2014/main" id="{4FF58F93-9F7D-4CBF-745F-7F787E26FBC5}"/>
                  </a:ext>
                </a:extLst>
              </p:cNvPr>
              <p:cNvGrpSpPr/>
              <p:nvPr/>
            </p:nvGrpSpPr>
            <p:grpSpPr>
              <a:xfrm>
                <a:off x="7126026" y="3520188"/>
                <a:ext cx="35485" cy="30398"/>
                <a:chOff x="7126026" y="3520188"/>
                <a:chExt cx="35485" cy="30398"/>
              </a:xfrm>
              <a:solidFill>
                <a:srgbClr val="D5EEF9"/>
              </a:solidFill>
            </p:grpSpPr>
            <p:sp>
              <p:nvSpPr>
                <p:cNvPr id="197" name="Freihandform 145">
                  <a:extLst>
                    <a:ext uri="{FF2B5EF4-FFF2-40B4-BE49-F238E27FC236}">
                      <a16:creationId xmlns:a16="http://schemas.microsoft.com/office/drawing/2014/main" id="{5DA6EF10-5F3B-56BA-4377-DF4F93D01E76}"/>
                    </a:ext>
                  </a:extLst>
                </p:cNvPr>
                <p:cNvSpPr/>
                <p:nvPr/>
              </p:nvSpPr>
              <p:spPr>
                <a:xfrm>
                  <a:off x="7126026" y="3520188"/>
                  <a:ext cx="16612" cy="30398"/>
                </a:xfrm>
                <a:custGeom>
                  <a:avLst/>
                  <a:gdLst>
                    <a:gd name="connsiteX0" fmla="*/ 0 w 16612"/>
                    <a:gd name="connsiteY0" fmla="*/ 0 h 30398"/>
                    <a:gd name="connsiteX1" fmla="*/ 16612 w 16612"/>
                    <a:gd name="connsiteY1" fmla="*/ 0 h 30398"/>
                    <a:gd name="connsiteX2" fmla="*/ 16612 w 16612"/>
                    <a:gd name="connsiteY2" fmla="*/ 30398 h 30398"/>
                    <a:gd name="connsiteX3" fmla="*/ 0 w 16612"/>
                    <a:gd name="connsiteY3" fmla="*/ 30398 h 30398"/>
                  </a:gdLst>
                  <a:ahLst/>
                  <a:cxnLst>
                    <a:cxn ang="0">
                      <a:pos x="connsiteX0" y="connsiteY0"/>
                    </a:cxn>
                    <a:cxn ang="0">
                      <a:pos x="connsiteX1" y="connsiteY1"/>
                    </a:cxn>
                    <a:cxn ang="0">
                      <a:pos x="connsiteX2" y="connsiteY2"/>
                    </a:cxn>
                    <a:cxn ang="0">
                      <a:pos x="connsiteX3" y="connsiteY3"/>
                    </a:cxn>
                  </a:cxnLst>
                  <a:rect l="l" t="t" r="r" b="b"/>
                  <a:pathLst>
                    <a:path w="16612" h="30398">
                      <a:moveTo>
                        <a:pt x="0" y="0"/>
                      </a:moveTo>
                      <a:lnTo>
                        <a:pt x="16612" y="0"/>
                      </a:lnTo>
                      <a:lnTo>
                        <a:pt x="16612" y="30398"/>
                      </a:lnTo>
                      <a:lnTo>
                        <a:pt x="0" y="30398"/>
                      </a:lnTo>
                      <a:close/>
                    </a:path>
                  </a:pathLst>
                </a:custGeom>
                <a:solidFill>
                  <a:srgbClr val="D5EEF9"/>
                </a:solidFill>
                <a:ln w="1131" cap="flat">
                  <a:noFill/>
                  <a:prstDash val="solid"/>
                  <a:miter/>
                </a:ln>
              </p:spPr>
              <p:txBody>
                <a:bodyPr rtlCol="0" anchor="ctr"/>
                <a:lstStyle/>
                <a:p>
                  <a:endParaRPr lang="de-DE"/>
                </a:p>
              </p:txBody>
            </p:sp>
            <p:sp>
              <p:nvSpPr>
                <p:cNvPr id="198" name="Freihandform 146">
                  <a:extLst>
                    <a:ext uri="{FF2B5EF4-FFF2-40B4-BE49-F238E27FC236}">
                      <a16:creationId xmlns:a16="http://schemas.microsoft.com/office/drawing/2014/main" id="{17CE346B-6CDA-76AE-A114-429BD01DC212}"/>
                    </a:ext>
                  </a:extLst>
                </p:cNvPr>
                <p:cNvSpPr/>
                <p:nvPr/>
              </p:nvSpPr>
              <p:spPr>
                <a:xfrm>
                  <a:off x="7144899" y="3520188"/>
                  <a:ext cx="16612" cy="30398"/>
                </a:xfrm>
                <a:custGeom>
                  <a:avLst/>
                  <a:gdLst>
                    <a:gd name="connsiteX0" fmla="*/ 0 w 16612"/>
                    <a:gd name="connsiteY0" fmla="*/ 0 h 30398"/>
                    <a:gd name="connsiteX1" fmla="*/ 16612 w 16612"/>
                    <a:gd name="connsiteY1" fmla="*/ 0 h 30398"/>
                    <a:gd name="connsiteX2" fmla="*/ 16612 w 16612"/>
                    <a:gd name="connsiteY2" fmla="*/ 30398 h 30398"/>
                    <a:gd name="connsiteX3" fmla="*/ 0 w 16612"/>
                    <a:gd name="connsiteY3" fmla="*/ 30398 h 30398"/>
                  </a:gdLst>
                  <a:ahLst/>
                  <a:cxnLst>
                    <a:cxn ang="0">
                      <a:pos x="connsiteX0" y="connsiteY0"/>
                    </a:cxn>
                    <a:cxn ang="0">
                      <a:pos x="connsiteX1" y="connsiteY1"/>
                    </a:cxn>
                    <a:cxn ang="0">
                      <a:pos x="connsiteX2" y="connsiteY2"/>
                    </a:cxn>
                    <a:cxn ang="0">
                      <a:pos x="connsiteX3" y="connsiteY3"/>
                    </a:cxn>
                  </a:cxnLst>
                  <a:rect l="l" t="t" r="r" b="b"/>
                  <a:pathLst>
                    <a:path w="16612" h="30398">
                      <a:moveTo>
                        <a:pt x="0" y="0"/>
                      </a:moveTo>
                      <a:lnTo>
                        <a:pt x="16612" y="0"/>
                      </a:lnTo>
                      <a:lnTo>
                        <a:pt x="16612" y="30398"/>
                      </a:lnTo>
                      <a:lnTo>
                        <a:pt x="0" y="30398"/>
                      </a:lnTo>
                      <a:close/>
                    </a:path>
                  </a:pathLst>
                </a:custGeom>
                <a:solidFill>
                  <a:srgbClr val="D5EEF9"/>
                </a:solidFill>
                <a:ln w="1131" cap="flat">
                  <a:noFill/>
                  <a:prstDash val="solid"/>
                  <a:miter/>
                </a:ln>
              </p:spPr>
              <p:txBody>
                <a:bodyPr rtlCol="0" anchor="ctr"/>
                <a:lstStyle/>
                <a:p>
                  <a:endParaRPr lang="de-DE"/>
                </a:p>
              </p:txBody>
            </p:sp>
          </p:grpSp>
        </p:grpSp>
      </p:grpSp>
      <p:pic>
        <p:nvPicPr>
          <p:cNvPr id="461" name="Grafik 460">
            <a:extLst>
              <a:ext uri="{FF2B5EF4-FFF2-40B4-BE49-F238E27FC236}">
                <a16:creationId xmlns:a16="http://schemas.microsoft.com/office/drawing/2014/main" id="{3EEE995D-28C0-05B9-B27C-7CB1143DB6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70486" y="3101053"/>
            <a:ext cx="751301" cy="1421379"/>
          </a:xfrm>
          <a:prstGeom prst="rect">
            <a:avLst/>
          </a:prstGeom>
        </p:spPr>
      </p:pic>
      <p:pic>
        <p:nvPicPr>
          <p:cNvPr id="462" name="Grafik 461">
            <a:extLst>
              <a:ext uri="{FF2B5EF4-FFF2-40B4-BE49-F238E27FC236}">
                <a16:creationId xmlns:a16="http://schemas.microsoft.com/office/drawing/2014/main" id="{90141D0D-09EB-641C-9B0E-1404D8EFB3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27735" y="4343537"/>
            <a:ext cx="375409" cy="163088"/>
          </a:xfrm>
          <a:prstGeom prst="rect">
            <a:avLst/>
          </a:prstGeom>
        </p:spPr>
      </p:pic>
      <p:cxnSp>
        <p:nvCxnSpPr>
          <p:cNvPr id="463" name="Gerade Verbindung 388">
            <a:extLst>
              <a:ext uri="{FF2B5EF4-FFF2-40B4-BE49-F238E27FC236}">
                <a16:creationId xmlns:a16="http://schemas.microsoft.com/office/drawing/2014/main" id="{5427723B-FF3D-DF48-361B-B9C2C09635EC}"/>
              </a:ext>
            </a:extLst>
          </p:cNvPr>
          <p:cNvCxnSpPr>
            <a:cxnSpLocks/>
          </p:cNvCxnSpPr>
          <p:nvPr/>
        </p:nvCxnSpPr>
        <p:spPr>
          <a:xfrm flipH="1">
            <a:off x="355866" y="4511682"/>
            <a:ext cx="565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tle 5">
            <a:extLst>
              <a:ext uri="{FF2B5EF4-FFF2-40B4-BE49-F238E27FC236}">
                <a16:creationId xmlns:a16="http://schemas.microsoft.com/office/drawing/2014/main" id="{F36E5D4D-430F-43E1-E0A4-7F2A0245CA1C}"/>
              </a:ext>
            </a:extLst>
          </p:cNvPr>
          <p:cNvSpPr>
            <a:spLocks noGrp="1"/>
          </p:cNvSpPr>
          <p:nvPr>
            <p:ph type="title"/>
          </p:nvPr>
        </p:nvSpPr>
        <p:spPr>
          <a:xfrm>
            <a:off x="324001" y="385163"/>
            <a:ext cx="7025288" cy="493950"/>
          </a:xfrm>
        </p:spPr>
        <p:txBody>
          <a:bodyPr vert="horz" lIns="0" tIns="0" rIns="0" bIns="0" rtlCol="0" anchor="b">
            <a:noAutofit/>
          </a:bodyPr>
          <a:lstStyle/>
          <a:p>
            <a:r>
              <a:rPr lang="de-DE"/>
              <a:t>Der Konzern setzt sich ambitionierte Ziele zur Reduzierung der CO</a:t>
            </a:r>
            <a:r>
              <a:rPr lang="de-DE" baseline="-25000"/>
              <a:t>2</a:t>
            </a:r>
            <a:r>
              <a:rPr lang="de-DE"/>
              <a:t>e-Emissionen und setzt dabei auf verschiedene Maßnahmen.</a:t>
            </a:r>
          </a:p>
        </p:txBody>
      </p:sp>
      <p:sp>
        <p:nvSpPr>
          <p:cNvPr id="467" name="Rechteck 466">
            <a:extLst>
              <a:ext uri="{FF2B5EF4-FFF2-40B4-BE49-F238E27FC236}">
                <a16:creationId xmlns:a16="http://schemas.microsoft.com/office/drawing/2014/main" id="{DAE94B70-E2E0-2DCD-5127-6B1FF8549B8B}"/>
              </a:ext>
            </a:extLst>
          </p:cNvPr>
          <p:cNvSpPr/>
          <p:nvPr/>
        </p:nvSpPr>
        <p:spPr>
          <a:xfrm>
            <a:off x="5996484" y="879113"/>
            <a:ext cx="3149122" cy="3632569"/>
          </a:xfrm>
          <a:prstGeom prst="rect">
            <a:avLst/>
          </a:prstGeom>
          <a:solidFill>
            <a:srgbClr val="007C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03999" tIns="180000" rIns="180000" bIns="180000" rtlCol="0" anchor="t">
            <a:noAutofit/>
          </a:bodyPr>
          <a:lstStyle/>
          <a:p>
            <a:pPr marL="0" marR="0" lvl="0" indent="0" algn="l" defTabSz="685800" rtl="0" eaLnBrk="1" fontAlgn="auto" latinLnBrk="0" hangingPunct="1">
              <a:lnSpc>
                <a:spcPct val="105000"/>
              </a:lnSpc>
              <a:spcBef>
                <a:spcPts val="0"/>
              </a:spcBef>
              <a:spcAft>
                <a:spcPts val="400"/>
              </a:spcAft>
              <a:buClrTx/>
              <a:buSzTx/>
              <a:buFontTx/>
              <a:buNone/>
              <a:tabLst/>
              <a:defRPr/>
            </a:pPr>
            <a:endParaRPr kumimoji="0" lang="de-DE" sz="800" b="0" i="0" u="none" strike="noStrike" kern="1200" cap="none" spc="0" normalizeH="0" baseline="0" noProof="0">
              <a:ln>
                <a:noFill/>
              </a:ln>
              <a:solidFill>
                <a:prstClr val="white"/>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p:txBody>
      </p:sp>
      <p:pic>
        <p:nvPicPr>
          <p:cNvPr id="468" name="Grafik 467">
            <a:extLst>
              <a:ext uri="{FF2B5EF4-FFF2-40B4-BE49-F238E27FC236}">
                <a16:creationId xmlns:a16="http://schemas.microsoft.com/office/drawing/2014/main" id="{A8AF8BFB-3952-BE05-5C11-E209E7F2E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21930" y="1288725"/>
            <a:ext cx="1317780" cy="1317780"/>
          </a:xfrm>
          <a:prstGeom prst="rect">
            <a:avLst/>
          </a:prstGeom>
        </p:spPr>
      </p:pic>
      <p:sp>
        <p:nvSpPr>
          <p:cNvPr id="469" name="Titel 30">
            <a:extLst>
              <a:ext uri="{FF2B5EF4-FFF2-40B4-BE49-F238E27FC236}">
                <a16:creationId xmlns:a16="http://schemas.microsoft.com/office/drawing/2014/main" id="{0B5FCC28-C456-9057-78E2-6459AE1B4D14}"/>
              </a:ext>
            </a:extLst>
          </p:cNvPr>
          <p:cNvSpPr txBox="1">
            <a:spLocks/>
          </p:cNvSpPr>
          <p:nvPr/>
        </p:nvSpPr>
        <p:spPr>
          <a:xfrm>
            <a:off x="6448967" y="1560227"/>
            <a:ext cx="2525337" cy="4939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400" b="1" i="0" kern="1200">
                <a:solidFill>
                  <a:schemeClr val="tx1"/>
                </a:solidFill>
                <a:latin typeface="Delivery Cd Black" panose="020F0503020204020204" pitchFamily="34" charset="0"/>
                <a:ea typeface="Delivery Cd Black" panose="020F0503020204020204" pitchFamily="34" charset="0"/>
                <a:cs typeface="Delivery Cd Black" panose="020F0503020204020204" pitchFamily="34" charset="0"/>
              </a:defRPr>
            </a:lvl1pPr>
          </a:lstStyle>
          <a:p>
            <a:pPr marL="0" marR="0" lvl="0" indent="0" algn="l" defTabSz="685800" rtl="0" eaLnBrk="1" fontAlgn="auto" latinLnBrk="0" hangingPunct="1">
              <a:lnSpc>
                <a:spcPct val="90000"/>
              </a:lnSpc>
              <a:spcBef>
                <a:spcPct val="0"/>
              </a:spcBef>
              <a:spcAft>
                <a:spcPts val="1200"/>
              </a:spcAft>
              <a:buClrTx/>
              <a:buSzTx/>
              <a:buFontTx/>
              <a:buNone/>
              <a:tabLst/>
              <a:defRPr/>
            </a:pPr>
            <a:r>
              <a:rPr kumimoji="0" lang="de-DE" sz="2400" b="1" i="0" u="none" strike="noStrike" kern="1200" cap="all" spc="0" normalizeH="0" baseline="0" noProof="0">
                <a:ln>
                  <a:noFill/>
                </a:ln>
                <a:solidFill>
                  <a:prstClr val="white"/>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rPr>
              <a:t>THG-Emissionen auf &lt; 29 MIO. tonnen senken</a:t>
            </a:r>
            <a:endParaRPr kumimoji="0" lang="de-DE" sz="2400" b="1" i="0" u="none" strike="noStrike" kern="1200" cap="none" spc="0" normalizeH="0" baseline="0" noProof="0">
              <a:ln>
                <a:noFill/>
              </a:ln>
              <a:solidFill>
                <a:prstClr val="white"/>
              </a:solidFill>
              <a:effectLst/>
              <a:uLnTx/>
              <a:uFillTx/>
              <a:latin typeface="Delivery Cd Black" panose="020F0503020204020204" pitchFamily="34" charset="0"/>
              <a:ea typeface="Delivery Cd Black" panose="020F0503020204020204" pitchFamily="34" charset="0"/>
              <a:cs typeface="Delivery Cd Black" panose="020F0503020204020204" pitchFamily="34" charset="0"/>
            </a:endParaRPr>
          </a:p>
        </p:txBody>
      </p:sp>
      <p:sp>
        <p:nvSpPr>
          <p:cNvPr id="470" name="Titel 30">
            <a:extLst>
              <a:ext uri="{FF2B5EF4-FFF2-40B4-BE49-F238E27FC236}">
                <a16:creationId xmlns:a16="http://schemas.microsoft.com/office/drawing/2014/main" id="{9435117D-C250-41E9-FD64-D99877BB85FC}"/>
              </a:ext>
            </a:extLst>
          </p:cNvPr>
          <p:cNvSpPr txBox="1">
            <a:spLocks/>
          </p:cNvSpPr>
          <p:nvPr/>
        </p:nvSpPr>
        <p:spPr>
          <a:xfrm>
            <a:off x="6454599" y="1256188"/>
            <a:ext cx="2525337" cy="4939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400" b="1" i="0" kern="1200">
                <a:solidFill>
                  <a:schemeClr val="tx1"/>
                </a:solidFill>
                <a:latin typeface="Delivery Cd Black" panose="020F0503020204020204" pitchFamily="34" charset="0"/>
                <a:ea typeface="Delivery Cd Black" panose="020F0503020204020204" pitchFamily="34" charset="0"/>
                <a:cs typeface="Delivery Cd Black" panose="020F0503020204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e-DE" sz="1600" b="0" i="0" u="none" strike="noStrike" kern="1200" cap="all" spc="0" normalizeH="0" baseline="0" noProof="0">
                <a:ln>
                  <a:noFill/>
                </a:ln>
                <a:solidFill>
                  <a:prstClr val="white"/>
                </a:solidFill>
                <a:effectLst/>
                <a:uLnTx/>
                <a:uFillTx/>
                <a:latin typeface="Delivery Cd Light" panose="020F0406020204020204" pitchFamily="34" charset="0"/>
                <a:ea typeface="Delivery Cd Black" panose="020F0503020204020204" pitchFamily="34" charset="0"/>
                <a:cs typeface="Delivery Cd Black" panose="020F0503020204020204" pitchFamily="34" charset="0"/>
              </a:rPr>
              <a:t>BIS 2030</a:t>
            </a:r>
            <a:br>
              <a:rPr kumimoji="0" lang="de-DE" sz="1400" b="0" i="0" u="none" strike="noStrike" kern="1200" cap="none" spc="0" normalizeH="0" baseline="0" noProof="0">
                <a:ln>
                  <a:noFill/>
                </a:ln>
                <a:solidFill>
                  <a:prstClr val="white"/>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rPr>
            </a:br>
            <a:endParaRPr kumimoji="0" lang="de-DE" sz="1400" b="0" i="0" u="none" strike="noStrike" kern="1200" cap="none" spc="0" normalizeH="0" baseline="0" noProof="0">
              <a:ln>
                <a:noFill/>
              </a:ln>
              <a:solidFill>
                <a:prstClr val="white"/>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p:txBody>
      </p:sp>
      <p:sp>
        <p:nvSpPr>
          <p:cNvPr id="471" name="Inhaltsplatzhalter 39">
            <a:extLst>
              <a:ext uri="{FF2B5EF4-FFF2-40B4-BE49-F238E27FC236}">
                <a16:creationId xmlns:a16="http://schemas.microsoft.com/office/drawing/2014/main" id="{175E98A1-4910-E80E-39C0-2D9FE01EBFD2}"/>
              </a:ext>
            </a:extLst>
          </p:cNvPr>
          <p:cNvSpPr txBox="1">
            <a:spLocks/>
          </p:cNvSpPr>
          <p:nvPr/>
        </p:nvSpPr>
        <p:spPr>
          <a:xfrm>
            <a:off x="6457584" y="2649604"/>
            <a:ext cx="2532174" cy="1146151"/>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lang="de-DE" sz="1200" kern="1200" dirty="0" smtClean="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0" indent="0" algn="l" defTabSz="685800" rtl="0" eaLnBrk="1" latinLnBrk="0" hangingPunct="1">
              <a:lnSpc>
                <a:spcPct val="110000"/>
              </a:lnSpc>
              <a:spcBef>
                <a:spcPts val="0"/>
              </a:spcBef>
              <a:spcAft>
                <a:spcPts val="500"/>
              </a:spcAft>
              <a:buClr>
                <a:schemeClr val="accent4"/>
              </a:buClr>
              <a:buFont typeface="Arial" panose="020B0604020202020204" pitchFamily="34" charset="0"/>
              <a:buNone/>
              <a:defRPr sz="1200" b="0" i="0" kern="1200">
                <a:solidFill>
                  <a:schemeClr val="tx1"/>
                </a:solidFill>
                <a:latin typeface="Delivery" panose="020F0503020204020204" pitchFamily="34" charset="0"/>
                <a:ea typeface="Delivery" panose="020F0503020204020204" pitchFamily="34" charset="0"/>
                <a:cs typeface="Delivery" panose="020F0503020204020204" pitchFamily="34" charset="0"/>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b="0" i="0" kern="1200">
                <a:solidFill>
                  <a:schemeClr val="tx1"/>
                </a:solidFill>
                <a:latin typeface="Delivery" panose="020F0503020204020204" pitchFamily="34" charset="0"/>
                <a:ea typeface="Delivery" panose="020F0503020204020204" pitchFamily="34" charset="0"/>
                <a:cs typeface="Delivery" panose="020F0503020204020204" pitchFamily="34" charset="0"/>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b="0" i="0" kern="1200">
                <a:solidFill>
                  <a:schemeClr val="tx1"/>
                </a:solidFill>
                <a:latin typeface="Delivery" panose="020F0503020204020204" pitchFamily="34" charset="0"/>
                <a:ea typeface="Delivery" panose="020F0503020204020204" pitchFamily="34" charset="0"/>
                <a:cs typeface="Delivery" panose="020F0503020204020204" pitchFamily="34" charset="0"/>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b="0" i="0" kern="1200">
                <a:solidFill>
                  <a:schemeClr val="tx1"/>
                </a:solidFill>
                <a:latin typeface="Delivery" panose="020F0503020204020204" pitchFamily="34" charset="0"/>
                <a:ea typeface="Delivery" panose="020F0503020204020204" pitchFamily="34" charset="0"/>
                <a:cs typeface="Delivery" panose="020F0503020204020204" pitchFamily="34" charset="0"/>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a:pP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Wir wollen bis 2030 insgesamt </a:t>
            </a:r>
            <a:b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42 % der direkten und indirekten </a:t>
            </a:r>
            <a:b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Emissionen (Scopes 1, 2) und </a:t>
            </a:r>
            <a:b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5 % der logistikbezogenen</a:t>
            </a:r>
            <a:r>
              <a:rPr kumimoji="0" lang="de-DE" sz="1200" i="0" u="none" strike="noStrike" kern="1200" cap="none" spc="0" normalizeH="0" baseline="30000" noProof="0">
                <a:ln>
                  <a:noFill/>
                </a:ln>
                <a:solidFill>
                  <a:prstClr val="white"/>
                </a:solidFill>
                <a:effectLst/>
                <a:uLnTx/>
                <a:uFillTx/>
                <a:ea typeface="Delivery Cd Black" panose="020F0503020204020204" pitchFamily="34" charset="0"/>
                <a:cs typeface="Delivery Cd Black" panose="020F0503020204020204" pitchFamily="34" charset="0"/>
              </a:rPr>
              <a:t>1</a:t>
            </a: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a:t>
            </a:r>
            <a:b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br>
            <a:r>
              <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Scope-3-Emissionen reduzieren.</a:t>
            </a:r>
          </a:p>
          <a:p>
            <a:pPr marL="0" marR="0" lvl="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a:pPr>
            <a:endPar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0" marR="0" lvl="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a:pPr>
            <a:endParaRPr kumimoji="0" lang="de-DE"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pic>
        <p:nvPicPr>
          <p:cNvPr id="159" name="Picture 22">
            <a:extLst>
              <a:ext uri="{FF2B5EF4-FFF2-40B4-BE49-F238E27FC236}">
                <a16:creationId xmlns:a16="http://schemas.microsoft.com/office/drawing/2014/main" id="{0BE9AA29-7318-91D6-C760-DF90C8A8E681}"/>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l="-3859" r="-3937"/>
          <a:stretch/>
        </p:blipFill>
        <p:spPr>
          <a:xfrm>
            <a:off x="6441633" y="3763206"/>
            <a:ext cx="907655" cy="444491"/>
          </a:xfrm>
          <a:prstGeom prst="rect">
            <a:avLst/>
          </a:prstGeom>
        </p:spPr>
      </p:pic>
      <p:sp>
        <p:nvSpPr>
          <p:cNvPr id="464" name="TextBox 9">
            <a:extLst>
              <a:ext uri="{FF2B5EF4-FFF2-40B4-BE49-F238E27FC236}">
                <a16:creationId xmlns:a16="http://schemas.microsoft.com/office/drawing/2014/main" id="{BC109B94-2112-DBDA-411B-64448117EEA3}"/>
              </a:ext>
            </a:extLst>
          </p:cNvPr>
          <p:cNvSpPr txBox="1"/>
          <p:nvPr>
            <p:custDataLst>
              <p:tags r:id="rId1"/>
            </p:custDataLst>
          </p:nvPr>
        </p:nvSpPr>
        <p:spPr>
          <a:xfrm>
            <a:off x="7455040" y="3842009"/>
            <a:ext cx="1533381" cy="360000"/>
          </a:xfrm>
          <a:prstGeom prst="rect">
            <a:avLst/>
          </a:prstGeom>
          <a:noFill/>
        </p:spPr>
        <p:txBody>
          <a:bodyPr wrap="square" lIns="0" tIns="0" rIns="0" bIns="0" rtlCol="0" anchor="t">
            <a:noAutofit/>
          </a:bodyPr>
          <a:lstStyle/>
          <a:p>
            <a:r>
              <a:rPr lang="de-DE" sz="600" baseline="30000">
                <a:solidFill>
                  <a:schemeClr val="bg1"/>
                </a:solidFill>
                <a:latin typeface="Delivery Light" panose="020F0403020204020204" pitchFamily="34" charset="0"/>
                <a:ea typeface="Delivery Light" panose="020F0403020204020204" pitchFamily="34" charset="0"/>
                <a:cs typeface="Delivery Light" panose="020F0403020204020204" pitchFamily="34" charset="0"/>
              </a:rPr>
              <a:t>1</a:t>
            </a:r>
            <a:r>
              <a:rPr lang="de-DE" sz="600">
                <a:solidFill>
                  <a:schemeClr val="bg1"/>
                </a:solidFill>
                <a:latin typeface="Delivery Light" panose="020F0403020204020204" pitchFamily="34" charset="0"/>
                <a:ea typeface="Delivery Light" panose="020F0403020204020204" pitchFamily="34" charset="0"/>
                <a:cs typeface="Delivery Light" panose="020F0403020204020204" pitchFamily="34" charset="0"/>
              </a:rPr>
              <a:t> Logistikbezogene GHG-Kategorien: Upstream Kraftstoffe und Energie, Upstream Transport und Distribution, Geschäftsreisen</a:t>
            </a:r>
          </a:p>
        </p:txBody>
      </p:sp>
      <p:sp>
        <p:nvSpPr>
          <p:cNvPr id="5" name="Footer Placeholder 2">
            <a:extLst>
              <a:ext uri="{FF2B5EF4-FFF2-40B4-BE49-F238E27FC236}">
                <a16:creationId xmlns:a16="http://schemas.microsoft.com/office/drawing/2014/main" id="{FB4BD222-D748-50FD-5C0D-89E4D8E18143}"/>
              </a:ext>
            </a:extLst>
          </p:cNvPr>
          <p:cNvSpPr>
            <a:spLocks noGrp="1"/>
          </p:cNvSpPr>
          <p:nvPr>
            <p:ph type="ftr" sz="quarter" idx="10"/>
          </p:nvPr>
        </p:nvSpPr>
        <p:spPr bwMode="gray">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spTree>
    <p:extLst>
      <p:ext uri="{BB962C8B-B14F-4D97-AF65-F5344CB8AC3E}">
        <p14:creationId xmlns:p14="http://schemas.microsoft.com/office/powerpoint/2010/main" val="6178752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3"/>
                                        </p:tgtEl>
                                        <p:attrNameLst>
                                          <p:attrName>style.visibility</p:attrName>
                                        </p:attrNameLst>
                                      </p:cBhvr>
                                      <p:to>
                                        <p:strVal val="visible"/>
                                      </p:to>
                                    </p:set>
                                    <p:animEffect transition="in" filter="fade">
                                      <p:cBhvr>
                                        <p:cTn id="10" dur="500"/>
                                        <p:tgtEl>
                                          <p:spTgt spid="153"/>
                                        </p:tgtEl>
                                      </p:cBhvr>
                                    </p:animEffect>
                                  </p:childTnLst>
                                </p:cTn>
                              </p:par>
                              <p:par>
                                <p:cTn id="11" presetID="22" presetClass="entr" presetSubtype="4" fill="hold" nodeType="withEffect">
                                  <p:stCondLst>
                                    <p:cond delay="250"/>
                                  </p:stCondLst>
                                  <p:childTnLst>
                                    <p:set>
                                      <p:cBhvr>
                                        <p:cTn id="12" dur="1" fill="hold">
                                          <p:stCondLst>
                                            <p:cond delay="0"/>
                                          </p:stCondLst>
                                        </p:cTn>
                                        <p:tgtEl>
                                          <p:spTgt spid="152"/>
                                        </p:tgtEl>
                                        <p:attrNameLst>
                                          <p:attrName>style.visibility</p:attrName>
                                        </p:attrNameLst>
                                      </p:cBhvr>
                                      <p:to>
                                        <p:strVal val="visible"/>
                                      </p:to>
                                    </p:set>
                                    <p:animEffect transition="in" filter="wipe(down)">
                                      <p:cBhvr>
                                        <p:cTn id="13" dur="500"/>
                                        <p:tgtEl>
                                          <p:spTgt spid="152"/>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500"/>
                                        <p:tgtEl>
                                          <p:spTgt spid="151"/>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96"/>
                                        </p:tgtEl>
                                        <p:attrNameLst>
                                          <p:attrName>style.visibility</p:attrName>
                                        </p:attrNameLst>
                                      </p:cBhvr>
                                      <p:to>
                                        <p:strVal val="visible"/>
                                      </p:to>
                                    </p:set>
                                    <p:animEffect transition="in" filter="fade">
                                      <p:cBhvr>
                                        <p:cTn id="19" dur="500"/>
                                        <p:tgtEl>
                                          <p:spTgt spid="96"/>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46"/>
                                        </p:tgtEl>
                                        <p:attrNameLst>
                                          <p:attrName>style.visibility</p:attrName>
                                        </p:attrNameLst>
                                      </p:cBhvr>
                                      <p:to>
                                        <p:strVal val="visible"/>
                                      </p:to>
                                    </p:set>
                                    <p:animEffect transition="in" filter="fade">
                                      <p:cBhvr>
                                        <p:cTn id="22" dur="500"/>
                                        <p:tgtEl>
                                          <p:spTgt spid="146"/>
                                        </p:tgtEl>
                                      </p:cBhvr>
                                    </p:animEffect>
                                  </p:childTnLst>
                                </p:cTn>
                              </p:par>
                              <p:par>
                                <p:cTn id="23" presetID="10" presetClass="entr" presetSubtype="0" fill="hold" nodeType="withEffect">
                                  <p:stCondLst>
                                    <p:cond delay="1000"/>
                                  </p:stCondLst>
                                  <p:childTnLst>
                                    <p:set>
                                      <p:cBhvr>
                                        <p:cTn id="24" dur="1" fill="hold">
                                          <p:stCondLst>
                                            <p:cond delay="0"/>
                                          </p:stCondLst>
                                        </p:cTn>
                                        <p:tgtEl>
                                          <p:spTgt spid="97"/>
                                        </p:tgtEl>
                                        <p:attrNameLst>
                                          <p:attrName>style.visibility</p:attrName>
                                        </p:attrNameLst>
                                      </p:cBhvr>
                                      <p:to>
                                        <p:strVal val="visible"/>
                                      </p:to>
                                    </p:set>
                                    <p:animEffect transition="in" filter="fade">
                                      <p:cBhvr>
                                        <p:cTn id="25" dur="500"/>
                                        <p:tgtEl>
                                          <p:spTgt spid="97"/>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grpId="0" nodeType="withEffect">
                                  <p:stCondLst>
                                    <p:cond delay="75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par>
                                <p:cTn id="32" presetID="10" presetClass="entr" presetSubtype="0" fill="hold" nodeType="withEffect">
                                  <p:stCondLst>
                                    <p:cond delay="75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49"/>
                                        </p:tgtEl>
                                        <p:attrNameLst>
                                          <p:attrName>style.visibility</p:attrName>
                                        </p:attrNameLst>
                                      </p:cBhvr>
                                      <p:to>
                                        <p:strVal val="visible"/>
                                      </p:to>
                                    </p:set>
                                    <p:animEffect transition="in" filter="fade">
                                      <p:cBhvr>
                                        <p:cTn id="37" dur="500"/>
                                        <p:tgtEl>
                                          <p:spTgt spid="149"/>
                                        </p:tgtEl>
                                      </p:cBhvr>
                                    </p:animEffect>
                                  </p:childTnLst>
                                </p:cTn>
                              </p:par>
                            </p:childTnLst>
                          </p:cTn>
                        </p:par>
                        <p:par>
                          <p:cTn id="38" fill="hold">
                            <p:stCondLst>
                              <p:cond delay="1500"/>
                            </p:stCondLst>
                            <p:childTnLst>
                              <p:par>
                                <p:cTn id="39" presetID="10" presetClass="entr" presetSubtype="0" fill="hold" grpId="0" nodeType="afterEffect">
                                  <p:stCondLst>
                                    <p:cond delay="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147"/>
                                        </p:tgtEl>
                                        <p:attrNameLst>
                                          <p:attrName>style.visibility</p:attrName>
                                        </p:attrNameLst>
                                      </p:cBhvr>
                                      <p:to>
                                        <p:strVal val="visible"/>
                                      </p:to>
                                    </p:set>
                                    <p:animEffect transition="in" filter="fade">
                                      <p:cBhvr>
                                        <p:cTn id="44"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96" grpId="0"/>
      <p:bldP spid="145" grpId="0"/>
      <p:bldP spid="146" grpId="0"/>
      <p:bldP spid="147" grpId="0"/>
      <p:bldP spid="148" grpId="0"/>
      <p:bldP spid="149" grpId="0"/>
      <p:bldP spid="150" grpId="0"/>
      <p:bldP spid="151" grpId="0"/>
      <p:bldP spid="15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Gerader Verbinder 31">
            <a:extLst>
              <a:ext uri="{FF2B5EF4-FFF2-40B4-BE49-F238E27FC236}">
                <a16:creationId xmlns:a16="http://schemas.microsoft.com/office/drawing/2014/main" id="{5D4A5D4F-EE98-59A7-DFDA-30AB07E3A0C3}"/>
              </a:ext>
            </a:extLst>
          </p:cNvPr>
          <p:cNvCxnSpPr>
            <a:cxnSpLocks/>
          </p:cNvCxnSpPr>
          <p:nvPr/>
        </p:nvCxnSpPr>
        <p:spPr>
          <a:xfrm flipH="1">
            <a:off x="944381" y="4228542"/>
            <a:ext cx="648000" cy="0"/>
          </a:xfrm>
          <a:prstGeom prst="line">
            <a:avLst/>
          </a:prstGeom>
          <a:ln w="28575">
            <a:solidFill>
              <a:srgbClr val="006443"/>
            </a:solidFill>
          </a:ln>
        </p:spPr>
        <p:style>
          <a:lnRef idx="1">
            <a:schemeClr val="accent1"/>
          </a:lnRef>
          <a:fillRef idx="0">
            <a:schemeClr val="accent1"/>
          </a:fillRef>
          <a:effectRef idx="0">
            <a:schemeClr val="accent1"/>
          </a:effectRef>
          <a:fontRef idx="minor">
            <a:schemeClr val="tx1"/>
          </a:fontRef>
        </p:style>
      </p:cxnSp>
      <p:pic>
        <p:nvPicPr>
          <p:cNvPr id="51" name="Graphic 6">
            <a:extLst>
              <a:ext uri="{FF2B5EF4-FFF2-40B4-BE49-F238E27FC236}">
                <a16:creationId xmlns:a16="http://schemas.microsoft.com/office/drawing/2014/main" id="{A38FDB23-C333-6BE7-67F7-BA6F71B8C1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339" y="3702364"/>
            <a:ext cx="1061042" cy="1061042"/>
          </a:xfrm>
          <a:prstGeom prst="rect">
            <a:avLst/>
          </a:prstGeom>
          <a:effectLst/>
        </p:spPr>
      </p:pic>
      <p:cxnSp>
        <p:nvCxnSpPr>
          <p:cNvPr id="26" name="Gerader Verbinder 25">
            <a:extLst>
              <a:ext uri="{FF2B5EF4-FFF2-40B4-BE49-F238E27FC236}">
                <a16:creationId xmlns:a16="http://schemas.microsoft.com/office/drawing/2014/main" id="{72989237-F94C-C484-7DC5-E8D4E85BF7DE}"/>
              </a:ext>
            </a:extLst>
          </p:cNvPr>
          <p:cNvCxnSpPr>
            <a:cxnSpLocks/>
          </p:cNvCxnSpPr>
          <p:nvPr/>
        </p:nvCxnSpPr>
        <p:spPr>
          <a:xfrm flipH="1">
            <a:off x="944381" y="1933412"/>
            <a:ext cx="648000" cy="0"/>
          </a:xfrm>
          <a:prstGeom prst="line">
            <a:avLst/>
          </a:prstGeom>
          <a:ln w="28575">
            <a:solidFill>
              <a:srgbClr val="006443"/>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86D5716-D549-8533-09C5-A38579F1BF92}"/>
              </a:ext>
            </a:extLst>
          </p:cNvPr>
          <p:cNvCxnSpPr>
            <a:cxnSpLocks/>
          </p:cNvCxnSpPr>
          <p:nvPr/>
        </p:nvCxnSpPr>
        <p:spPr>
          <a:xfrm flipH="1">
            <a:off x="944381" y="3081530"/>
            <a:ext cx="648000" cy="0"/>
          </a:xfrm>
          <a:prstGeom prst="line">
            <a:avLst/>
          </a:prstGeom>
          <a:ln w="28575">
            <a:solidFill>
              <a:srgbClr val="006443"/>
            </a:solidFill>
          </a:ln>
        </p:spPr>
        <p:style>
          <a:lnRef idx="1">
            <a:schemeClr val="accent1"/>
          </a:lnRef>
          <a:fillRef idx="0">
            <a:schemeClr val="accent1"/>
          </a:fillRef>
          <a:effectRef idx="0">
            <a:schemeClr val="accent1"/>
          </a:effectRef>
          <a:fontRef idx="minor">
            <a:schemeClr val="tx1"/>
          </a:fontRef>
        </p:style>
      </p:cxnSp>
      <p:pic>
        <p:nvPicPr>
          <p:cNvPr id="50" name="Graphic 6">
            <a:extLst>
              <a:ext uri="{FF2B5EF4-FFF2-40B4-BE49-F238E27FC236}">
                <a16:creationId xmlns:a16="http://schemas.microsoft.com/office/drawing/2014/main" id="{8E220BA5-BA85-8E97-FA61-2010C28649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339" y="2550271"/>
            <a:ext cx="1061042" cy="1061042"/>
          </a:xfrm>
          <a:prstGeom prst="rect">
            <a:avLst/>
          </a:prstGeom>
          <a:effectLst/>
        </p:spPr>
      </p:pic>
      <p:pic>
        <p:nvPicPr>
          <p:cNvPr id="49" name="Graphic 6">
            <a:extLst>
              <a:ext uri="{FF2B5EF4-FFF2-40B4-BE49-F238E27FC236}">
                <a16:creationId xmlns:a16="http://schemas.microsoft.com/office/drawing/2014/main" id="{944D12F6-201E-4DF4-7317-1F23003516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339" y="1397643"/>
            <a:ext cx="1061042" cy="1061042"/>
          </a:xfrm>
          <a:prstGeom prst="rect">
            <a:avLst/>
          </a:prstGeom>
          <a:effectLst/>
        </p:spPr>
      </p:pic>
      <p:pic>
        <p:nvPicPr>
          <p:cNvPr id="20" name="Picture 15">
            <a:extLst>
              <a:ext uri="{FF2B5EF4-FFF2-40B4-BE49-F238E27FC236}">
                <a16:creationId xmlns:a16="http://schemas.microsoft.com/office/drawing/2014/main" id="{5A61E928-58C9-7634-2FBC-56567F966FC2}"/>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285761" y="1619311"/>
            <a:ext cx="7068475" cy="3816978"/>
          </a:xfrm>
          <a:prstGeom prst="rect">
            <a:avLst/>
          </a:prstGeom>
        </p:spPr>
      </p:pic>
      <p:sp>
        <p:nvSpPr>
          <p:cNvPr id="4" name="Foliennummernplatzhalter 3">
            <a:extLst>
              <a:ext uri="{FF2B5EF4-FFF2-40B4-BE49-F238E27FC236}">
                <a16:creationId xmlns:a16="http://schemas.microsoft.com/office/drawing/2014/main" id="{CF7B7E99-F390-F15E-57CD-D44D3D34063C}"/>
              </a:ext>
            </a:extLst>
          </p:cNvPr>
          <p:cNvSpPr>
            <a:spLocks noGrp="1"/>
          </p:cNvSpPr>
          <p:nvPr>
            <p:ph type="sldNum" sz="quarter" idx="11"/>
          </p:nvPr>
        </p:nvSpPr>
        <p:spPr/>
        <p:txBody>
          <a:bodyPr/>
          <a:lstStyle/>
          <a:p>
            <a:fld id="{C2245BC1-4D7B-4ED3-8F01-840FA35126C6}" type="slidenum">
              <a:rPr lang="de-DE" smtClean="0">
                <a:solidFill>
                  <a:schemeClr val="bg1"/>
                </a:solidFill>
              </a:rPr>
              <a:pPr/>
              <a:t>4</a:t>
            </a:fld>
            <a:endParaRPr lang="de-DE">
              <a:solidFill>
                <a:schemeClr val="bg1"/>
              </a:solidFill>
            </a:endParaRPr>
          </a:p>
        </p:txBody>
      </p:sp>
      <p:sp>
        <p:nvSpPr>
          <p:cNvPr id="2" name="Titel 1">
            <a:extLst>
              <a:ext uri="{FF2B5EF4-FFF2-40B4-BE49-F238E27FC236}">
                <a16:creationId xmlns:a16="http://schemas.microsoft.com/office/drawing/2014/main" id="{3C6E334B-BE6A-7487-52FD-1D8DA90EF252}"/>
              </a:ext>
            </a:extLst>
          </p:cNvPr>
          <p:cNvSpPr>
            <a:spLocks noGrp="1"/>
          </p:cNvSpPr>
          <p:nvPr>
            <p:ph type="title"/>
          </p:nvPr>
        </p:nvSpPr>
        <p:spPr/>
        <p:txBody>
          <a:bodyPr/>
          <a:lstStyle/>
          <a:p>
            <a:r>
              <a:rPr lang="de-DE"/>
              <a:t>Nachhaltigkeit bei Post- und Paketdienstleistern ist gesellschaftlich relevant, dabei ist Deutsche Post und DHL ein vertrauensvoller Partner</a:t>
            </a:r>
          </a:p>
        </p:txBody>
      </p:sp>
      <p:sp>
        <p:nvSpPr>
          <p:cNvPr id="27" name="Textfeld 26">
            <a:extLst>
              <a:ext uri="{FF2B5EF4-FFF2-40B4-BE49-F238E27FC236}">
                <a16:creationId xmlns:a16="http://schemas.microsoft.com/office/drawing/2014/main" id="{A759234E-D3D7-CBE8-BC90-D084C4F56EFA}"/>
              </a:ext>
            </a:extLst>
          </p:cNvPr>
          <p:cNvSpPr txBox="1"/>
          <p:nvPr/>
        </p:nvSpPr>
        <p:spPr>
          <a:xfrm>
            <a:off x="1772381" y="1774558"/>
            <a:ext cx="5837274" cy="317709"/>
          </a:xfrm>
          <a:prstGeom prst="rect">
            <a:avLst/>
          </a:prstGeom>
          <a:noFill/>
        </p:spPr>
        <p:txBody>
          <a:bodyPr wrap="square" lIns="0" tIns="0" rIns="0" bIns="0" rtlCol="0" anchor="ctr">
            <a:noAutofit/>
          </a:bodyPr>
          <a:lstStyle/>
          <a:p>
            <a:pPr algn="l">
              <a:lnSpc>
                <a:spcPct val="110000"/>
              </a:lnSpc>
              <a:spcAft>
                <a:spcPts val="500"/>
              </a:spcAft>
            </a:pPr>
            <a:r>
              <a:rPr lang="de-DE" sz="1600"/>
              <a:t>…der Befragten halten </a:t>
            </a:r>
            <a:r>
              <a:rPr lang="de-DE" sz="1600" b="1"/>
              <a:t>Nachhaltigkeit bei Post- und Paket-dienstleistern</a:t>
            </a:r>
            <a:r>
              <a:rPr lang="de-DE" sz="1600"/>
              <a:t> für wichtig oder sogar sehr wichtig.</a:t>
            </a:r>
          </a:p>
        </p:txBody>
      </p:sp>
      <p:sp>
        <p:nvSpPr>
          <p:cNvPr id="29" name="Textfeld 28">
            <a:extLst>
              <a:ext uri="{FF2B5EF4-FFF2-40B4-BE49-F238E27FC236}">
                <a16:creationId xmlns:a16="http://schemas.microsoft.com/office/drawing/2014/main" id="{7667E718-57D6-D681-5B02-79D37318257E}"/>
              </a:ext>
            </a:extLst>
          </p:cNvPr>
          <p:cNvSpPr txBox="1"/>
          <p:nvPr/>
        </p:nvSpPr>
        <p:spPr>
          <a:xfrm>
            <a:off x="1772381" y="2922676"/>
            <a:ext cx="4176000" cy="317709"/>
          </a:xfrm>
          <a:prstGeom prst="rect">
            <a:avLst/>
          </a:prstGeom>
          <a:noFill/>
        </p:spPr>
        <p:txBody>
          <a:bodyPr wrap="square" lIns="0" tIns="0" rIns="0" bIns="0" rtlCol="0" anchor="ctr">
            <a:noAutofit/>
          </a:bodyPr>
          <a:lstStyle/>
          <a:p>
            <a:pPr algn="l">
              <a:lnSpc>
                <a:spcPct val="110000"/>
              </a:lnSpc>
              <a:spcAft>
                <a:spcPts val="500"/>
              </a:spcAft>
            </a:pPr>
            <a:r>
              <a:rPr lang="de-DE" sz="1600"/>
              <a:t>…der Befragten halten u.a. die </a:t>
            </a:r>
            <a:r>
              <a:rPr lang="de-DE" sz="1600" b="1"/>
              <a:t>Reduktion und Vermeidung klimaschädlicher Emissionen </a:t>
            </a:r>
            <a:r>
              <a:rPr lang="de-DE" sz="1600"/>
              <a:t>durch Investitionen in eine nachhaltige Infrastruktur für besonders wichtig.</a:t>
            </a:r>
          </a:p>
        </p:txBody>
      </p:sp>
      <p:sp>
        <p:nvSpPr>
          <p:cNvPr id="33" name="Textfeld 32">
            <a:extLst>
              <a:ext uri="{FF2B5EF4-FFF2-40B4-BE49-F238E27FC236}">
                <a16:creationId xmlns:a16="http://schemas.microsoft.com/office/drawing/2014/main" id="{555F4F52-90A5-8472-EBCA-817B0942C281}"/>
              </a:ext>
            </a:extLst>
          </p:cNvPr>
          <p:cNvSpPr txBox="1"/>
          <p:nvPr/>
        </p:nvSpPr>
        <p:spPr>
          <a:xfrm>
            <a:off x="1772381" y="4069688"/>
            <a:ext cx="3636000" cy="317709"/>
          </a:xfrm>
          <a:prstGeom prst="rect">
            <a:avLst/>
          </a:prstGeom>
          <a:noFill/>
        </p:spPr>
        <p:txBody>
          <a:bodyPr wrap="square" lIns="0" tIns="0" rIns="0" bIns="0" rtlCol="0" anchor="ctr">
            <a:noAutofit/>
          </a:bodyPr>
          <a:lstStyle/>
          <a:p>
            <a:pPr algn="l">
              <a:lnSpc>
                <a:spcPct val="110000"/>
              </a:lnSpc>
              <a:spcAft>
                <a:spcPts val="500"/>
              </a:spcAft>
            </a:pPr>
            <a:r>
              <a:rPr lang="de-DE" sz="1600"/>
              <a:t>…der Befragten finden, dass Deutsche Post und DHL sich darum kümmern, ihre </a:t>
            </a:r>
            <a:r>
              <a:rPr lang="de-DE" sz="1600" b="1"/>
              <a:t>Leistung nachhaltig zu erbringen</a:t>
            </a:r>
            <a:r>
              <a:rPr lang="de-DE" sz="1600"/>
              <a:t>.</a:t>
            </a:r>
          </a:p>
        </p:txBody>
      </p:sp>
      <p:sp>
        <p:nvSpPr>
          <p:cNvPr id="37" name="Textfeld 36">
            <a:extLst>
              <a:ext uri="{FF2B5EF4-FFF2-40B4-BE49-F238E27FC236}">
                <a16:creationId xmlns:a16="http://schemas.microsoft.com/office/drawing/2014/main" id="{12F7BED1-018C-D544-C133-B01BBBAD05D6}"/>
              </a:ext>
            </a:extLst>
          </p:cNvPr>
          <p:cNvSpPr txBox="1"/>
          <p:nvPr/>
        </p:nvSpPr>
        <p:spPr>
          <a:xfrm>
            <a:off x="324000" y="1032465"/>
            <a:ext cx="4520716" cy="356601"/>
          </a:xfrm>
          <a:prstGeom prst="rect">
            <a:avLst/>
          </a:prstGeom>
          <a:noFill/>
        </p:spPr>
        <p:txBody>
          <a:bodyPr wrap="square" lIns="0" tIns="0" rIns="0" bIns="0" rtlCol="0">
            <a:noAutofit/>
          </a:bodyPr>
          <a:lstStyle/>
          <a:p>
            <a:pPr algn="l">
              <a:lnSpc>
                <a:spcPct val="110000"/>
              </a:lnSpc>
              <a:spcAft>
                <a:spcPts val="500"/>
              </a:spcAft>
            </a:pPr>
            <a:r>
              <a:rPr lang="de-DE" sz="1800" b="1">
                <a:solidFill>
                  <a:srgbClr val="006443"/>
                </a:solidFill>
              </a:rPr>
              <a:t>Eine repräsentative Forsa-Umfrage zeigt:</a:t>
            </a:r>
          </a:p>
        </p:txBody>
      </p:sp>
      <p:sp>
        <p:nvSpPr>
          <p:cNvPr id="53" name="Fußzeilenplatzhalter 2">
            <a:extLst>
              <a:ext uri="{FF2B5EF4-FFF2-40B4-BE49-F238E27FC236}">
                <a16:creationId xmlns:a16="http://schemas.microsoft.com/office/drawing/2014/main" id="{E94B7F72-8770-9C8D-6272-1FBE2F278AD4}"/>
              </a:ext>
            </a:extLst>
          </p:cNvPr>
          <p:cNvSpPr>
            <a:spLocks noGrp="1"/>
          </p:cNvSpPr>
          <p:nvPr>
            <p:ph type="ftr" sz="quarter" idx="10"/>
          </p:nvPr>
        </p:nvSpPr>
        <p:spPr>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sp>
        <p:nvSpPr>
          <p:cNvPr id="25" name="Textfeld 24">
            <a:extLst>
              <a:ext uri="{FF2B5EF4-FFF2-40B4-BE49-F238E27FC236}">
                <a16:creationId xmlns:a16="http://schemas.microsoft.com/office/drawing/2014/main" id="{2D824FEB-BD2E-938C-82D6-EDC3756C4EFD}"/>
              </a:ext>
            </a:extLst>
          </p:cNvPr>
          <p:cNvSpPr txBox="1"/>
          <p:nvPr/>
        </p:nvSpPr>
        <p:spPr>
          <a:xfrm>
            <a:off x="385483" y="2857857"/>
            <a:ext cx="705034" cy="447347"/>
          </a:xfrm>
          <a:prstGeom prst="rect">
            <a:avLst/>
          </a:prstGeom>
          <a:noFill/>
        </p:spPr>
        <p:txBody>
          <a:bodyPr wrap="square" lIns="0" tIns="0" rIns="0" bIns="0" rtlCol="0" anchor="ctr">
            <a:noAutofit/>
          </a:bodyPr>
          <a:lstStyle/>
          <a:p>
            <a:pPr algn="ctr">
              <a:lnSpc>
                <a:spcPct val="110000"/>
              </a:lnSpc>
              <a:spcAft>
                <a:spcPts val="500"/>
              </a:spcAft>
            </a:pPr>
            <a:r>
              <a:rPr lang="de-DE" sz="2800" b="1">
                <a:solidFill>
                  <a:schemeClr val="bg1"/>
                </a:solidFill>
              </a:rPr>
              <a:t>67%</a:t>
            </a:r>
          </a:p>
        </p:txBody>
      </p:sp>
      <p:sp>
        <p:nvSpPr>
          <p:cNvPr id="31" name="Textfeld 30">
            <a:extLst>
              <a:ext uri="{FF2B5EF4-FFF2-40B4-BE49-F238E27FC236}">
                <a16:creationId xmlns:a16="http://schemas.microsoft.com/office/drawing/2014/main" id="{147038E0-D0F7-403D-A1A7-AAD30CF0732D}"/>
              </a:ext>
            </a:extLst>
          </p:cNvPr>
          <p:cNvSpPr txBox="1"/>
          <p:nvPr/>
        </p:nvSpPr>
        <p:spPr>
          <a:xfrm>
            <a:off x="385483" y="4004869"/>
            <a:ext cx="705034" cy="447347"/>
          </a:xfrm>
          <a:prstGeom prst="rect">
            <a:avLst/>
          </a:prstGeom>
          <a:noFill/>
        </p:spPr>
        <p:txBody>
          <a:bodyPr wrap="square" lIns="0" tIns="0" rIns="0" bIns="0" rtlCol="0" anchor="ctr">
            <a:noAutofit/>
          </a:bodyPr>
          <a:lstStyle/>
          <a:p>
            <a:pPr algn="ctr">
              <a:lnSpc>
                <a:spcPct val="110000"/>
              </a:lnSpc>
              <a:spcAft>
                <a:spcPts val="500"/>
              </a:spcAft>
            </a:pPr>
            <a:r>
              <a:rPr lang="de-DE" sz="2800" b="1">
                <a:solidFill>
                  <a:schemeClr val="bg1"/>
                </a:solidFill>
              </a:rPr>
              <a:t>50%</a:t>
            </a:r>
          </a:p>
        </p:txBody>
      </p:sp>
      <p:sp>
        <p:nvSpPr>
          <p:cNvPr id="35" name="Textfeld 34">
            <a:extLst>
              <a:ext uri="{FF2B5EF4-FFF2-40B4-BE49-F238E27FC236}">
                <a16:creationId xmlns:a16="http://schemas.microsoft.com/office/drawing/2014/main" id="{E633D2A1-3D21-2F9A-C745-6646C6DFC257}"/>
              </a:ext>
            </a:extLst>
          </p:cNvPr>
          <p:cNvSpPr txBox="1"/>
          <p:nvPr/>
        </p:nvSpPr>
        <p:spPr>
          <a:xfrm>
            <a:off x="385483" y="1709739"/>
            <a:ext cx="705034" cy="447347"/>
          </a:xfrm>
          <a:prstGeom prst="rect">
            <a:avLst/>
          </a:prstGeom>
          <a:noFill/>
        </p:spPr>
        <p:txBody>
          <a:bodyPr wrap="square" lIns="0" tIns="0" rIns="0" bIns="0" rtlCol="0" anchor="ctr">
            <a:noAutofit/>
          </a:bodyPr>
          <a:lstStyle/>
          <a:p>
            <a:pPr algn="ctr">
              <a:lnSpc>
                <a:spcPct val="110000"/>
              </a:lnSpc>
              <a:spcAft>
                <a:spcPts val="500"/>
              </a:spcAft>
            </a:pPr>
            <a:r>
              <a:rPr lang="de-DE" sz="2800" b="1">
                <a:solidFill>
                  <a:schemeClr val="bg1"/>
                </a:solidFill>
              </a:rPr>
              <a:t>70%</a:t>
            </a:r>
          </a:p>
        </p:txBody>
      </p:sp>
    </p:spTree>
    <p:extLst>
      <p:ext uri="{BB962C8B-B14F-4D97-AF65-F5344CB8AC3E}">
        <p14:creationId xmlns:p14="http://schemas.microsoft.com/office/powerpoint/2010/main" val="1313760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Fahrzeug, Rad, Landfahrzeug, Transport enthält.&#10;&#10;KI-generierte Inhalte können fehlerhaft sein.">
            <a:extLst>
              <a:ext uri="{FF2B5EF4-FFF2-40B4-BE49-F238E27FC236}">
                <a16:creationId xmlns:a16="http://schemas.microsoft.com/office/drawing/2014/main" id="{02851448-0500-D6E7-4527-48378351D60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23190" y="1372249"/>
            <a:ext cx="2153177" cy="1237556"/>
          </a:xfrm>
          <a:prstGeom prst="rect">
            <a:avLst/>
          </a:prstGeom>
        </p:spPr>
      </p:pic>
      <p:sp>
        <p:nvSpPr>
          <p:cNvPr id="21" name="Freihandform: Form 20">
            <a:extLst>
              <a:ext uri="{FF2B5EF4-FFF2-40B4-BE49-F238E27FC236}">
                <a16:creationId xmlns:a16="http://schemas.microsoft.com/office/drawing/2014/main" id="{52B178B6-373A-BB6C-84D9-2FC68EB7C503}"/>
              </a:ext>
            </a:extLst>
          </p:cNvPr>
          <p:cNvSpPr/>
          <p:nvPr/>
        </p:nvSpPr>
        <p:spPr>
          <a:xfrm>
            <a:off x="5479366" y="541606"/>
            <a:ext cx="2067951" cy="2996419"/>
          </a:xfrm>
          <a:custGeom>
            <a:avLst/>
            <a:gdLst>
              <a:gd name="connsiteX0" fmla="*/ 0 w 2067951"/>
              <a:gd name="connsiteY0" fmla="*/ 837028 h 2996419"/>
              <a:gd name="connsiteX1" fmla="*/ 1294228 w 2067951"/>
              <a:gd name="connsiteY1" fmla="*/ 0 h 2996419"/>
              <a:gd name="connsiteX2" fmla="*/ 2067951 w 2067951"/>
              <a:gd name="connsiteY2" fmla="*/ 1927274 h 2996419"/>
              <a:gd name="connsiteX3" fmla="*/ 1596683 w 2067951"/>
              <a:gd name="connsiteY3" fmla="*/ 2672862 h 2996419"/>
              <a:gd name="connsiteX4" fmla="*/ 393896 w 2067951"/>
              <a:gd name="connsiteY4" fmla="*/ 2996419 h 2996419"/>
              <a:gd name="connsiteX5" fmla="*/ 7034 w 2067951"/>
              <a:gd name="connsiteY5" fmla="*/ 2074985 h 2996419"/>
              <a:gd name="connsiteX6" fmla="*/ 0 w 2067951"/>
              <a:gd name="connsiteY6" fmla="*/ 837028 h 299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7951" h="2996419">
                <a:moveTo>
                  <a:pt x="0" y="837028"/>
                </a:moveTo>
                <a:lnTo>
                  <a:pt x="1294228" y="0"/>
                </a:lnTo>
                <a:lnTo>
                  <a:pt x="2067951" y="1927274"/>
                </a:lnTo>
                <a:lnTo>
                  <a:pt x="1596683" y="2672862"/>
                </a:lnTo>
                <a:lnTo>
                  <a:pt x="393896" y="2996419"/>
                </a:lnTo>
                <a:lnTo>
                  <a:pt x="7034" y="2074985"/>
                </a:lnTo>
                <a:cubicBezTo>
                  <a:pt x="4689" y="1662333"/>
                  <a:pt x="2345" y="1249680"/>
                  <a:pt x="0" y="837028"/>
                </a:cubicBezTo>
                <a:close/>
              </a:path>
            </a:pathLst>
          </a:custGeom>
          <a:solidFill>
            <a:srgbClr val="E2E8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graphicFrame>
        <p:nvGraphicFramePr>
          <p:cNvPr id="8" name="Objekt 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624" imgH="623" progId="TCLayout.ActiveDocument.1">
                  <p:embed/>
                </p:oleObj>
              </mc:Choice>
              <mc:Fallback>
                <p:oleObj name="think-cell Slide" r:id="rId6" imgW="624" imgH="623" progId="TCLayout.ActiveDocument.1">
                  <p:embed/>
                  <p:pic>
                    <p:nvPicPr>
                      <p:cNvPr id="8" name="Objekt 7"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 y="1"/>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err="1">
              <a:ln>
                <a:noFill/>
              </a:ln>
              <a:solidFill>
                <a:prstClr val="black"/>
              </a:solidFill>
              <a:effectLst/>
              <a:uLnTx/>
              <a:uFillTx/>
              <a:latin typeface="Delivery" panose="020F0503020204020204" pitchFamily="34" charset="0"/>
              <a:ea typeface="+mn-ea"/>
              <a:cs typeface="+mn-cs"/>
              <a:sym typeface="Delivery" panose="020F0503020204020204" pitchFamily="34" charset="0"/>
            </a:endParaRPr>
          </a:p>
        </p:txBody>
      </p:sp>
      <p:sp>
        <p:nvSpPr>
          <p:cNvPr id="15" name="Title 3">
            <a:extLst>
              <a:ext uri="{FF2B5EF4-FFF2-40B4-BE49-F238E27FC236}">
                <a16:creationId xmlns:a16="http://schemas.microsoft.com/office/drawing/2014/main" id="{CECCC589-C6C6-2346-94E4-142185C6D68E}"/>
              </a:ext>
            </a:extLst>
          </p:cNvPr>
          <p:cNvSpPr txBox="1">
            <a:spLocks/>
          </p:cNvSpPr>
          <p:nvPr/>
        </p:nvSpPr>
        <p:spPr>
          <a:xfrm>
            <a:off x="332618" y="493527"/>
            <a:ext cx="3745356" cy="383881"/>
          </a:xfrm>
          <a:prstGeom prst="rect">
            <a:avLst/>
          </a:prstGeom>
        </p:spPr>
        <p:txBody>
          <a:bodyPr vert="horz" lIns="0" tIns="0" rIns="0" bIns="0" rtlCol="0" anchor="b">
            <a:noAutofit/>
          </a:bodyPr>
          <a:lst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a:lstStyle>
          <a:p>
            <a:pPr marL="0" marR="0" lvl="0" indent="0" algn="l" defTabSz="685783" rtl="0" eaLnBrk="1" fontAlgn="auto" latinLnBrk="0" hangingPunct="1">
              <a:lnSpc>
                <a:spcPct val="100000"/>
              </a:lnSpc>
              <a:spcBef>
                <a:spcPct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Delivery"/>
                <a:ea typeface="+mj-ea"/>
                <a:cs typeface="+mj-cs"/>
              </a:rPr>
              <a:t>Gemeinsam für den Klimaschutz: Der Weg zu mehr Nachhaltigkeit</a:t>
            </a:r>
          </a:p>
        </p:txBody>
      </p:sp>
      <p:sp>
        <p:nvSpPr>
          <p:cNvPr id="2" name="Footer Placeholder 2">
            <a:extLst>
              <a:ext uri="{FF2B5EF4-FFF2-40B4-BE49-F238E27FC236}">
                <a16:creationId xmlns:a16="http://schemas.microsoft.com/office/drawing/2014/main" id="{53528448-1929-666C-E3D4-1251960D4474}"/>
              </a:ext>
            </a:extLst>
          </p:cNvPr>
          <p:cNvSpPr>
            <a:spLocks noGrp="1"/>
          </p:cNvSpPr>
          <p:nvPr>
            <p:ph type="ftr" sz="quarter" idx="10"/>
          </p:nvPr>
        </p:nvSpPr>
        <p:spPr bwMode="gray">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sp>
        <p:nvSpPr>
          <p:cNvPr id="4" name="Textfeld 105">
            <a:extLst>
              <a:ext uri="{FF2B5EF4-FFF2-40B4-BE49-F238E27FC236}">
                <a16:creationId xmlns:a16="http://schemas.microsoft.com/office/drawing/2014/main" id="{B99C23D7-C285-4821-D816-18E164FFFFD8}"/>
              </a:ext>
            </a:extLst>
          </p:cNvPr>
          <p:cNvSpPr txBox="1"/>
          <p:nvPr/>
        </p:nvSpPr>
        <p:spPr>
          <a:xfrm>
            <a:off x="3650105" y="2987216"/>
            <a:ext cx="2750755" cy="1014658"/>
          </a:xfrm>
          <a:prstGeom prst="rect">
            <a:avLst/>
          </a:prstGeom>
          <a:noFill/>
        </p:spPr>
        <p:txBody>
          <a:bodyPr wrap="square" lIns="36000" tIns="36000" rIns="36000" bIns="468000" rtlCol="0" anchor="t" anchorCtr="0">
            <a:noAutofit/>
          </a:bodyPr>
          <a:lstStyle/>
          <a:p>
            <a:pPr marL="90488"/>
            <a:r>
              <a:rPr lang="de-DE" sz="1200" b="1">
                <a:latin typeface="Delivery" panose="020F0503020204020204" pitchFamily="34" charset="0"/>
                <a:ea typeface="Delivery" panose="020F0503020204020204" pitchFamily="34" charset="0"/>
                <a:cs typeface="Delivery" panose="020F0503020204020204" pitchFamily="34" charset="0"/>
              </a:rPr>
              <a:t>Anteil CO</a:t>
            </a:r>
            <a:r>
              <a:rPr lang="de-DE" sz="1200" b="1" baseline="-25000">
                <a:latin typeface="Delivery" panose="020F0503020204020204" pitchFamily="34" charset="0"/>
                <a:ea typeface="Delivery" panose="020F0503020204020204" pitchFamily="34" charset="0"/>
                <a:cs typeface="Delivery" panose="020F0503020204020204" pitchFamily="34" charset="0"/>
              </a:rPr>
              <a:t>2</a:t>
            </a:r>
            <a:r>
              <a:rPr lang="de-DE" sz="1200" b="1">
                <a:latin typeface="Delivery" panose="020F0503020204020204" pitchFamily="34" charset="0"/>
                <a:ea typeface="Delivery" panose="020F0503020204020204" pitchFamily="34" charset="0"/>
                <a:cs typeface="Delivery" panose="020F0503020204020204" pitchFamily="34" charset="0"/>
              </a:rPr>
              <a:t>e-frei </a:t>
            </a:r>
          </a:p>
          <a:p>
            <a:pPr marL="90488"/>
            <a:r>
              <a:rPr lang="de-DE" sz="1200" b="1">
                <a:latin typeface="Delivery" panose="020F0503020204020204" pitchFamily="34" charset="0"/>
                <a:ea typeface="Delivery" panose="020F0503020204020204" pitchFamily="34" charset="0"/>
                <a:cs typeface="Delivery" panose="020F0503020204020204" pitchFamily="34" charset="0"/>
              </a:rPr>
              <a:t>zugestellter </a:t>
            </a:r>
            <a:br>
              <a:rPr lang="de-DE" sz="1200" b="1">
                <a:latin typeface="Delivery" panose="020F0503020204020204" pitchFamily="34" charset="0"/>
                <a:ea typeface="Delivery" panose="020F0503020204020204" pitchFamily="34" charset="0"/>
                <a:cs typeface="Delivery" panose="020F0503020204020204" pitchFamily="34" charset="0"/>
              </a:rPr>
            </a:br>
            <a:r>
              <a:rPr lang="de-DE" sz="1200" b="1">
                <a:latin typeface="Delivery" panose="020F0503020204020204" pitchFamily="34" charset="0"/>
                <a:ea typeface="Delivery" panose="020F0503020204020204" pitchFamily="34" charset="0"/>
                <a:cs typeface="Delivery" panose="020F0503020204020204" pitchFamily="34" charset="0"/>
              </a:rPr>
              <a:t>Paketsendungen </a:t>
            </a:r>
          </a:p>
          <a:p>
            <a:pPr marL="90488"/>
            <a:r>
              <a:rPr lang="de-DE" sz="1200" b="1">
                <a:latin typeface="Delivery" panose="020F0503020204020204" pitchFamily="34" charset="0"/>
                <a:ea typeface="Delivery" panose="020F0503020204020204" pitchFamily="34" charset="0"/>
                <a:cs typeface="Delivery" panose="020F0503020204020204" pitchFamily="34" charset="0"/>
              </a:rPr>
              <a:t>je Postleitzahl </a:t>
            </a:r>
            <a:br>
              <a:rPr lang="de-DE" sz="1200" b="1">
                <a:latin typeface="Delivery" panose="020F0503020204020204" pitchFamily="34" charset="0"/>
                <a:ea typeface="Delivery" panose="020F0503020204020204" pitchFamily="34" charset="0"/>
                <a:cs typeface="Delivery" panose="020F0503020204020204" pitchFamily="34" charset="0"/>
              </a:rPr>
            </a:br>
            <a:r>
              <a:rPr lang="de-DE" sz="800">
                <a:latin typeface="Delivery" panose="020F0503020204020204" pitchFamily="34" charset="0"/>
                <a:ea typeface="Delivery" panose="020F0503020204020204" pitchFamily="34" charset="0"/>
                <a:cs typeface="Delivery" panose="020F0503020204020204" pitchFamily="34" charset="0"/>
              </a:rPr>
              <a:t>(Status: 2024)</a:t>
            </a:r>
            <a:endParaRPr lang="de-DE" sz="800">
              <a:solidFill>
                <a:srgbClr val="C00000"/>
              </a:solidFill>
              <a:latin typeface="Delivery" panose="020F0503020204020204" pitchFamily="34" charset="0"/>
              <a:ea typeface="Delivery" panose="020F0503020204020204" pitchFamily="34" charset="0"/>
              <a:cs typeface="Delivery" panose="020F0503020204020204" pitchFamily="34" charset="0"/>
            </a:endParaRPr>
          </a:p>
        </p:txBody>
      </p:sp>
      <p:sp>
        <p:nvSpPr>
          <p:cNvPr id="5" name="Textfeld 106">
            <a:extLst>
              <a:ext uri="{FF2B5EF4-FFF2-40B4-BE49-F238E27FC236}">
                <a16:creationId xmlns:a16="http://schemas.microsoft.com/office/drawing/2014/main" id="{40B419EA-E866-F07B-26AB-B53F388FAA29}"/>
              </a:ext>
            </a:extLst>
          </p:cNvPr>
          <p:cNvSpPr txBox="1"/>
          <p:nvPr/>
        </p:nvSpPr>
        <p:spPr>
          <a:xfrm>
            <a:off x="3887570" y="4023446"/>
            <a:ext cx="918505" cy="538609"/>
          </a:xfrm>
          <a:prstGeom prst="rect">
            <a:avLst/>
          </a:prstGeom>
          <a:noFill/>
        </p:spPr>
        <p:txBody>
          <a:bodyPr wrap="square" rtlCol="0">
            <a:spAutoFit/>
          </a:bodyPr>
          <a:lstStyle/>
          <a:p>
            <a:pPr>
              <a:spcAft>
                <a:spcPts val="600"/>
              </a:spcAft>
            </a:pPr>
            <a:r>
              <a:rPr lang="de-DE" sz="1200">
                <a:latin typeface="Delivery" panose="020F0503020204020204" pitchFamily="34" charset="0"/>
                <a:ea typeface="Delivery" panose="020F0503020204020204" pitchFamily="34" charset="0"/>
                <a:cs typeface="Delivery" panose="020F0503020204020204" pitchFamily="34" charset="0"/>
              </a:rPr>
              <a:t>&lt; 20%</a:t>
            </a:r>
          </a:p>
          <a:p>
            <a:pPr>
              <a:spcAft>
                <a:spcPts val="600"/>
              </a:spcAft>
            </a:pPr>
            <a:r>
              <a:rPr lang="de-DE" sz="1200">
                <a:latin typeface="Delivery" panose="020F0503020204020204" pitchFamily="34" charset="0"/>
                <a:ea typeface="Delivery" panose="020F0503020204020204" pitchFamily="34" charset="0"/>
                <a:cs typeface="Delivery" panose="020F0503020204020204" pitchFamily="34" charset="0"/>
              </a:rPr>
              <a:t>20% - 50%</a:t>
            </a:r>
          </a:p>
        </p:txBody>
      </p:sp>
      <p:sp>
        <p:nvSpPr>
          <p:cNvPr id="7" name="Rechteck 107">
            <a:extLst>
              <a:ext uri="{FF2B5EF4-FFF2-40B4-BE49-F238E27FC236}">
                <a16:creationId xmlns:a16="http://schemas.microsoft.com/office/drawing/2014/main" id="{422D7879-1CA9-69B9-056E-C62256BB7CB1}"/>
              </a:ext>
            </a:extLst>
          </p:cNvPr>
          <p:cNvSpPr/>
          <p:nvPr/>
        </p:nvSpPr>
        <p:spPr>
          <a:xfrm>
            <a:off x="3788591" y="4366254"/>
            <a:ext cx="108000" cy="108000"/>
          </a:xfrm>
          <a:prstGeom prst="rect">
            <a:avLst/>
          </a:prstGeom>
          <a:solidFill>
            <a:srgbClr val="AFD298"/>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hteck 108">
            <a:extLst>
              <a:ext uri="{FF2B5EF4-FFF2-40B4-BE49-F238E27FC236}">
                <a16:creationId xmlns:a16="http://schemas.microsoft.com/office/drawing/2014/main" id="{189F9406-4C25-EED8-D4EE-EF304F69E621}"/>
              </a:ext>
            </a:extLst>
          </p:cNvPr>
          <p:cNvSpPr/>
          <p:nvPr/>
        </p:nvSpPr>
        <p:spPr>
          <a:xfrm>
            <a:off x="3788591" y="4103065"/>
            <a:ext cx="108000" cy="108000"/>
          </a:xfrm>
          <a:prstGeom prst="rect">
            <a:avLst/>
          </a:prstGeom>
          <a:solidFill>
            <a:srgbClr val="C5E0B4"/>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hteck 97">
            <a:extLst>
              <a:ext uri="{FF2B5EF4-FFF2-40B4-BE49-F238E27FC236}">
                <a16:creationId xmlns:a16="http://schemas.microsoft.com/office/drawing/2014/main" id="{C8A5B93D-2348-4D6E-D735-BDFD15388FFA}"/>
              </a:ext>
            </a:extLst>
          </p:cNvPr>
          <p:cNvSpPr/>
          <p:nvPr/>
        </p:nvSpPr>
        <p:spPr>
          <a:xfrm>
            <a:off x="4969489" y="4100030"/>
            <a:ext cx="108000" cy="108000"/>
          </a:xfrm>
          <a:prstGeom prst="rect">
            <a:avLst/>
          </a:prstGeom>
          <a:solidFill>
            <a:srgbClr val="86B06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hteck 98">
            <a:extLst>
              <a:ext uri="{FF2B5EF4-FFF2-40B4-BE49-F238E27FC236}">
                <a16:creationId xmlns:a16="http://schemas.microsoft.com/office/drawing/2014/main" id="{1FC7AC30-43FD-24B8-34EE-D121FBF36280}"/>
              </a:ext>
            </a:extLst>
          </p:cNvPr>
          <p:cNvSpPr/>
          <p:nvPr/>
        </p:nvSpPr>
        <p:spPr>
          <a:xfrm>
            <a:off x="4969489" y="4349571"/>
            <a:ext cx="108000" cy="108000"/>
          </a:xfrm>
          <a:prstGeom prst="rect">
            <a:avLst/>
          </a:prstGeom>
          <a:solidFill>
            <a:srgbClr val="70AD47">
              <a:lumMod val="7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3" name="Grafik 3" descr="Ein Bild, das Himmel, draußen, Gebäude, Wolke enthält.&#10;&#10;Automatisch generierte Beschreibung">
            <a:extLst>
              <a:ext uri="{FF2B5EF4-FFF2-40B4-BE49-F238E27FC236}">
                <a16:creationId xmlns:a16="http://schemas.microsoft.com/office/drawing/2014/main" id="{A42A633B-AAAD-3E55-820A-1262A7C1D4D0}"/>
              </a:ext>
            </a:extLst>
          </p:cNvPr>
          <p:cNvPicPr>
            <a:picLocks noChangeAspect="1"/>
          </p:cNvPicPr>
          <p:nvPr/>
        </p:nvPicPr>
        <p:blipFill>
          <a:blip r:embed="rId8" cstate="hqprint">
            <a:extLst>
              <a:ext uri="{28A0092B-C50C-407E-A947-70E740481C1C}">
                <a14:useLocalDpi xmlns:a14="http://schemas.microsoft.com/office/drawing/2010/main"/>
              </a:ext>
            </a:extLst>
          </a:blip>
          <a:srcRect t="5815" b="8507"/>
          <a:stretch/>
        </p:blipFill>
        <p:spPr>
          <a:xfrm>
            <a:off x="815292" y="2889157"/>
            <a:ext cx="2166161" cy="1237281"/>
          </a:xfrm>
          <a:prstGeom prst="rect">
            <a:avLst/>
          </a:prstGeom>
          <a:ln w="38100">
            <a:noFill/>
          </a:ln>
        </p:spPr>
      </p:pic>
      <p:pic>
        <p:nvPicPr>
          <p:cNvPr id="14" name="Grafik 13" descr="Ein Bild, das draußen, Fahrzeug, Landfahrzeug, Himmel enthält.&#10;&#10;Automatisch generierte Beschreibung">
            <a:extLst>
              <a:ext uri="{FF2B5EF4-FFF2-40B4-BE49-F238E27FC236}">
                <a16:creationId xmlns:a16="http://schemas.microsoft.com/office/drawing/2014/main" id="{989D0C29-7170-4503-5633-EAA043C8EB49}"/>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t="14991"/>
          <a:stretch/>
        </p:blipFill>
        <p:spPr>
          <a:xfrm>
            <a:off x="3337146" y="1376764"/>
            <a:ext cx="2157586" cy="1237556"/>
          </a:xfrm>
          <a:prstGeom prst="rect">
            <a:avLst/>
          </a:prstGeom>
          <a:ln w="38100">
            <a:noFill/>
          </a:ln>
        </p:spPr>
      </p:pic>
      <p:sp>
        <p:nvSpPr>
          <p:cNvPr id="17" name="Textfeld 101">
            <a:extLst>
              <a:ext uri="{FF2B5EF4-FFF2-40B4-BE49-F238E27FC236}">
                <a16:creationId xmlns:a16="http://schemas.microsoft.com/office/drawing/2014/main" id="{70CAA597-B812-4F3C-F653-516CDFC9F382}"/>
              </a:ext>
            </a:extLst>
          </p:cNvPr>
          <p:cNvSpPr txBox="1"/>
          <p:nvPr/>
        </p:nvSpPr>
        <p:spPr>
          <a:xfrm>
            <a:off x="819867" y="2277152"/>
            <a:ext cx="2169384" cy="335339"/>
          </a:xfrm>
          <a:prstGeom prst="rect">
            <a:avLst/>
          </a:prstGeom>
          <a:solidFill>
            <a:srgbClr val="EDF6F1">
              <a:alpha val="80000"/>
            </a:srgbClr>
          </a:solidFill>
        </p:spPr>
        <p:txBody>
          <a:bodyPr wrap="square" lIns="36000" tIns="36000" rIns="36000" bIns="36000" rtlCol="0" anchor="ctr" anchorCtr="0">
            <a:spAutoFit/>
          </a:bodyPr>
          <a:lstStyle/>
          <a:p>
            <a:pPr algn="ctr">
              <a:lnSpc>
                <a:spcPct val="110000"/>
              </a:lnSpc>
              <a:spcAft>
                <a:spcPts val="500"/>
              </a:spcAft>
            </a:pPr>
            <a:r>
              <a:rPr lang="de-DE" sz="1600" b="1">
                <a:solidFill>
                  <a:srgbClr val="006443"/>
                </a:solidFill>
              </a:rPr>
              <a:t>Transport</a:t>
            </a:r>
          </a:p>
        </p:txBody>
      </p:sp>
      <p:sp>
        <p:nvSpPr>
          <p:cNvPr id="18" name="Textfeld 102">
            <a:extLst>
              <a:ext uri="{FF2B5EF4-FFF2-40B4-BE49-F238E27FC236}">
                <a16:creationId xmlns:a16="http://schemas.microsoft.com/office/drawing/2014/main" id="{7A0B1426-A78F-26CD-2059-EE0334A7C3E9}"/>
              </a:ext>
            </a:extLst>
          </p:cNvPr>
          <p:cNvSpPr txBox="1"/>
          <p:nvPr/>
        </p:nvSpPr>
        <p:spPr>
          <a:xfrm>
            <a:off x="815292" y="3793785"/>
            <a:ext cx="2169090" cy="335339"/>
          </a:xfrm>
          <a:prstGeom prst="rect">
            <a:avLst/>
          </a:prstGeom>
          <a:solidFill>
            <a:srgbClr val="EDF6F1">
              <a:alpha val="80000"/>
            </a:srgbClr>
          </a:solidFill>
        </p:spPr>
        <p:txBody>
          <a:bodyPr wrap="square" lIns="36000" tIns="36000" rIns="36000" bIns="36000" rtlCol="0" anchor="ctr" anchorCtr="0">
            <a:spAutoFit/>
          </a:bodyPr>
          <a:lstStyle/>
          <a:p>
            <a:pPr algn="ctr">
              <a:lnSpc>
                <a:spcPct val="110000"/>
              </a:lnSpc>
              <a:spcAft>
                <a:spcPts val="500"/>
              </a:spcAft>
            </a:pPr>
            <a:r>
              <a:rPr lang="de-DE" sz="1600" b="1">
                <a:solidFill>
                  <a:srgbClr val="006443"/>
                </a:solidFill>
              </a:rPr>
              <a:t>Gebäude</a:t>
            </a:r>
          </a:p>
        </p:txBody>
      </p:sp>
      <p:sp>
        <p:nvSpPr>
          <p:cNvPr id="19" name="Textfeld 103">
            <a:extLst>
              <a:ext uri="{FF2B5EF4-FFF2-40B4-BE49-F238E27FC236}">
                <a16:creationId xmlns:a16="http://schemas.microsoft.com/office/drawing/2014/main" id="{97E3A60E-C258-AFD0-046D-0FA06E2B8C20}"/>
              </a:ext>
            </a:extLst>
          </p:cNvPr>
          <p:cNvSpPr txBox="1"/>
          <p:nvPr/>
        </p:nvSpPr>
        <p:spPr>
          <a:xfrm>
            <a:off x="3337145" y="2281667"/>
            <a:ext cx="2157585" cy="335339"/>
          </a:xfrm>
          <a:prstGeom prst="rect">
            <a:avLst/>
          </a:prstGeom>
          <a:solidFill>
            <a:srgbClr val="EDF6F1">
              <a:alpha val="80000"/>
            </a:srgbClr>
          </a:solidFill>
        </p:spPr>
        <p:txBody>
          <a:bodyPr wrap="square" lIns="36000" tIns="36000" rIns="36000" bIns="36000" rtlCol="0" anchor="ctr" anchorCtr="0">
            <a:spAutoFit/>
          </a:bodyPr>
          <a:lstStyle/>
          <a:p>
            <a:pPr algn="ctr">
              <a:lnSpc>
                <a:spcPct val="110000"/>
              </a:lnSpc>
              <a:spcAft>
                <a:spcPts val="500"/>
              </a:spcAft>
            </a:pPr>
            <a:r>
              <a:rPr lang="de-DE" sz="1600" b="1">
                <a:solidFill>
                  <a:srgbClr val="006443"/>
                </a:solidFill>
              </a:rPr>
              <a:t>Zustellung</a:t>
            </a:r>
          </a:p>
        </p:txBody>
      </p:sp>
      <p:pic>
        <p:nvPicPr>
          <p:cNvPr id="22" name="Grafik 104">
            <a:extLst>
              <a:ext uri="{FF2B5EF4-FFF2-40B4-BE49-F238E27FC236}">
                <a16:creationId xmlns:a16="http://schemas.microsoft.com/office/drawing/2014/main" id="{2A13DDC1-5F37-692D-97FF-D9086D0127E8}"/>
              </a:ext>
            </a:extLst>
          </p:cNvPr>
          <p:cNvPicPr>
            <a:picLocks noChangeAspect="1"/>
          </p:cNvPicPr>
          <p:nvPr/>
        </p:nvPicPr>
        <p:blipFill>
          <a:blip r:embed="rId10"/>
          <a:srcRect t="-1" r="7601" b="1320"/>
          <a:stretch/>
        </p:blipFill>
        <p:spPr>
          <a:xfrm>
            <a:off x="5433182" y="385292"/>
            <a:ext cx="3555496" cy="4455861"/>
          </a:xfrm>
          <a:prstGeom prst="rect">
            <a:avLst/>
          </a:prstGeom>
        </p:spPr>
      </p:pic>
      <p:sp>
        <p:nvSpPr>
          <p:cNvPr id="24" name="Rechteck 23">
            <a:extLst>
              <a:ext uri="{FF2B5EF4-FFF2-40B4-BE49-F238E27FC236}">
                <a16:creationId xmlns:a16="http://schemas.microsoft.com/office/drawing/2014/main" id="{5F4A6CE6-DC62-F387-1A29-D285860B4E97}"/>
              </a:ext>
            </a:extLst>
          </p:cNvPr>
          <p:cNvSpPr/>
          <p:nvPr/>
        </p:nvSpPr>
        <p:spPr>
          <a:xfrm>
            <a:off x="8575520" y="4645710"/>
            <a:ext cx="568480" cy="184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6" name="Foliennummernplatzhalter 5">
            <a:extLst>
              <a:ext uri="{FF2B5EF4-FFF2-40B4-BE49-F238E27FC236}">
                <a16:creationId xmlns:a16="http://schemas.microsoft.com/office/drawing/2014/main" id="{458FAE6C-C03E-4F90-B68A-64AE24CAFBA3}"/>
              </a:ext>
            </a:extLst>
          </p:cNvPr>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2245BC1-4D7B-4ED3-8F01-840FA35126C6}" type="slidenum">
              <a:rPr kumimoji="0" lang="de-DE" sz="9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de-DE" sz="900" b="0" i="0" u="none" strike="noStrike" kern="1200" cap="none" spc="0" normalizeH="0" baseline="0" noProof="0">
              <a:ln>
                <a:noFill/>
              </a:ln>
              <a:solidFill>
                <a:prstClr val="black"/>
              </a:solidFill>
              <a:effectLst/>
              <a:uLnTx/>
              <a:uFillTx/>
              <a:latin typeface="Delivery"/>
              <a:ea typeface="+mn-ea"/>
              <a:cs typeface="+mn-cs"/>
            </a:endParaRPr>
          </a:p>
        </p:txBody>
      </p:sp>
      <p:sp>
        <p:nvSpPr>
          <p:cNvPr id="25" name="Textfeld 106">
            <a:extLst>
              <a:ext uri="{FF2B5EF4-FFF2-40B4-BE49-F238E27FC236}">
                <a16:creationId xmlns:a16="http://schemas.microsoft.com/office/drawing/2014/main" id="{F35BB9E3-4495-C3A6-E4C1-9D556049783E}"/>
              </a:ext>
            </a:extLst>
          </p:cNvPr>
          <p:cNvSpPr txBox="1"/>
          <p:nvPr/>
        </p:nvSpPr>
        <p:spPr>
          <a:xfrm>
            <a:off x="5077489" y="4029048"/>
            <a:ext cx="957657" cy="538609"/>
          </a:xfrm>
          <a:prstGeom prst="rect">
            <a:avLst/>
          </a:prstGeom>
          <a:noFill/>
        </p:spPr>
        <p:txBody>
          <a:bodyPr wrap="square" rtlCol="0">
            <a:spAutoFit/>
          </a:bodyPr>
          <a:lstStyle/>
          <a:p>
            <a:pPr>
              <a:spcAft>
                <a:spcPts val="600"/>
              </a:spcAft>
            </a:pPr>
            <a:r>
              <a:rPr lang="de-DE" sz="1200">
                <a:latin typeface="Delivery" panose="020F0503020204020204" pitchFamily="34" charset="0"/>
                <a:ea typeface="Delivery" panose="020F0503020204020204" pitchFamily="34" charset="0"/>
                <a:cs typeface="Delivery" panose="020F0503020204020204" pitchFamily="34" charset="0"/>
              </a:rPr>
              <a:t>51% - 80%</a:t>
            </a:r>
          </a:p>
          <a:p>
            <a:pPr>
              <a:spcAft>
                <a:spcPts val="600"/>
              </a:spcAft>
            </a:pPr>
            <a:r>
              <a:rPr lang="de-DE" sz="1200">
                <a:latin typeface="Delivery" panose="020F0503020204020204" pitchFamily="34" charset="0"/>
                <a:ea typeface="Delivery" panose="020F0503020204020204" pitchFamily="34" charset="0"/>
                <a:cs typeface="Delivery" panose="020F0503020204020204" pitchFamily="34" charset="0"/>
              </a:rPr>
              <a:t>&gt; 80 %</a:t>
            </a:r>
          </a:p>
        </p:txBody>
      </p:sp>
    </p:spTree>
    <p:extLst>
      <p:ext uri="{BB962C8B-B14F-4D97-AF65-F5344CB8AC3E}">
        <p14:creationId xmlns:p14="http://schemas.microsoft.com/office/powerpoint/2010/main" val="21314558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B597275A-1926-12A2-5E1A-97F441CF753F}"/>
              </a:ext>
            </a:extLst>
          </p:cNvPr>
          <p:cNvSpPr/>
          <p:nvPr/>
        </p:nvSpPr>
        <p:spPr>
          <a:xfrm>
            <a:off x="57150" y="-1"/>
            <a:ext cx="1608364" cy="244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2245BC1-4D7B-4ED3-8F01-840FA35126C6}" type="slidenum">
              <a:rPr kumimoji="0" lang="en-US" sz="9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Delivery"/>
              <a:ea typeface="+mn-ea"/>
              <a:cs typeface="+mn-cs"/>
            </a:endParaRPr>
          </a:p>
        </p:txBody>
      </p:sp>
      <p:sp>
        <p:nvSpPr>
          <p:cNvPr id="23" name="Rechteck 22" hidden="1"/>
          <p:cNvSpPr/>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a:ln>
                <a:noFill/>
              </a:ln>
              <a:solidFill>
                <a:prstClr val="black"/>
              </a:solidFill>
              <a:effectLst/>
              <a:uLnTx/>
              <a:uFillTx/>
              <a:latin typeface="Delivery" panose="020F0503020204020204" pitchFamily="34" charset="0"/>
              <a:ea typeface="+mn-ea"/>
              <a:cs typeface="+mn-cs"/>
            </a:endParaRPr>
          </a:p>
        </p:txBody>
      </p:sp>
      <p:pic>
        <p:nvPicPr>
          <p:cNvPr id="12" name="Grafik 11" descr="Ein Bild, das Zug, Maßstabsmodell, Screenshot, Layout enthält.&#10;&#10;Automatisch generierte Beschreibung">
            <a:extLst>
              <a:ext uri="{FF2B5EF4-FFF2-40B4-BE49-F238E27FC236}">
                <a16:creationId xmlns:a16="http://schemas.microsoft.com/office/drawing/2014/main" id="{A07AC4C6-98E5-4556-2C3A-D5E9944500B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13" name="Titel 1">
            <a:extLst>
              <a:ext uri="{FF2B5EF4-FFF2-40B4-BE49-F238E27FC236}">
                <a16:creationId xmlns:a16="http://schemas.microsoft.com/office/drawing/2014/main" id="{7AAC8454-435A-6C5E-9E4A-D458CB49420B}"/>
              </a:ext>
            </a:extLst>
          </p:cNvPr>
          <p:cNvSpPr>
            <a:spLocks noGrp="1"/>
          </p:cNvSpPr>
          <p:nvPr>
            <p:ph type="title"/>
          </p:nvPr>
        </p:nvSpPr>
        <p:spPr>
          <a:xfrm>
            <a:off x="57150" y="140414"/>
            <a:ext cx="4816301" cy="938464"/>
          </a:xfrm>
          <a:solidFill>
            <a:schemeClr val="bg1"/>
          </a:solidFill>
        </p:spPr>
        <p:txBody>
          <a:bodyPr anchor="ctr"/>
          <a:lstStyle/>
          <a:p>
            <a:pPr marL="265113" defTabSz="514337">
              <a:spcBef>
                <a:spcPct val="0"/>
              </a:spcBef>
              <a:defRPr/>
            </a:pPr>
            <a:r>
              <a:rPr lang="de-DE" b="1" err="1">
                <a:solidFill>
                  <a:schemeClr val="tx1"/>
                </a:solidFill>
                <a:latin typeface="Delivery"/>
                <a:sym typeface="Delivery" panose="020F0503020204020204" pitchFamily="34" charset="0"/>
              </a:rPr>
              <a:t>Insetting</a:t>
            </a:r>
            <a:r>
              <a:rPr lang="de-DE" b="1">
                <a:solidFill>
                  <a:schemeClr val="tx1"/>
                </a:solidFill>
                <a:latin typeface="Delivery"/>
                <a:sym typeface="Delivery" panose="020F0503020204020204" pitchFamily="34" charset="0"/>
              </a:rPr>
              <a:t> als neuer Standard -</a:t>
            </a:r>
            <a:br>
              <a:rPr lang="de-DE" b="1">
                <a:solidFill>
                  <a:schemeClr val="tx1"/>
                </a:solidFill>
                <a:latin typeface="Delivery"/>
                <a:sym typeface="Delivery" panose="020F0503020204020204" pitchFamily="34" charset="0"/>
              </a:rPr>
            </a:br>
            <a:r>
              <a:rPr lang="de-DE" b="1">
                <a:solidFill>
                  <a:schemeClr val="tx1"/>
                </a:solidFill>
                <a:latin typeface="Delivery"/>
                <a:sym typeface="Delivery" panose="020F0503020204020204" pitchFamily="34" charset="0"/>
              </a:rPr>
              <a:t>Die Zukunft nachhaltiger Produkte</a:t>
            </a:r>
          </a:p>
        </p:txBody>
      </p:sp>
      <p:sp>
        <p:nvSpPr>
          <p:cNvPr id="2" name="Textfeld 1">
            <a:extLst>
              <a:ext uri="{FF2B5EF4-FFF2-40B4-BE49-F238E27FC236}">
                <a16:creationId xmlns:a16="http://schemas.microsoft.com/office/drawing/2014/main" id="{78132725-98FF-6BD6-C8DF-5BB78C3C66DE}"/>
              </a:ext>
            </a:extLst>
          </p:cNvPr>
          <p:cNvSpPr txBox="1"/>
          <p:nvPr>
            <p:extLst>
              <p:ext uri="{1162E1C5-73C7-4A58-AE30-91384D911F3F}">
                <p184:classification xmlns:p184="http://schemas.microsoft.com/office/powerpoint/2018/4/main" val="hdr"/>
              </p:ext>
            </p:extLst>
          </p:nvPr>
        </p:nvSpPr>
        <p:spPr>
          <a:xfrm>
            <a:off x="63500" y="63500"/>
            <a:ext cx="1390650" cy="152400"/>
          </a:xfrm>
          <a:prstGeom prst="rect">
            <a:avLst/>
          </a:prstGeom>
        </p:spPr>
        <p:txBody>
          <a:bodyPr horzOverflow="overflow" lIns="0" tIns="0" rIns="0" bIns="0">
            <a:spAutoFit/>
          </a:bodyPr>
          <a:lstStyle/>
          <a:p>
            <a:pPr algn="l"/>
            <a:r>
              <a:rPr lang="de-D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5" name="Rechteck 4">
            <a:extLst>
              <a:ext uri="{FF2B5EF4-FFF2-40B4-BE49-F238E27FC236}">
                <a16:creationId xmlns:a16="http://schemas.microsoft.com/office/drawing/2014/main" id="{F49DF173-5E6C-9833-65C4-56D5D83DBBC0}"/>
              </a:ext>
            </a:extLst>
          </p:cNvPr>
          <p:cNvSpPr/>
          <p:nvPr/>
        </p:nvSpPr>
        <p:spPr>
          <a:xfrm>
            <a:off x="1929059" y="1557495"/>
            <a:ext cx="100483" cy="80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7" name="Rechteck 6">
            <a:extLst>
              <a:ext uri="{FF2B5EF4-FFF2-40B4-BE49-F238E27FC236}">
                <a16:creationId xmlns:a16="http://schemas.microsoft.com/office/drawing/2014/main" id="{25E2BD60-21F2-6493-DC89-E1EFD73FD70C}"/>
              </a:ext>
            </a:extLst>
          </p:cNvPr>
          <p:cNvSpPr/>
          <p:nvPr/>
        </p:nvSpPr>
        <p:spPr>
          <a:xfrm>
            <a:off x="6132393" y="2611938"/>
            <a:ext cx="100483" cy="80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8" name="Rechteck 7">
            <a:extLst>
              <a:ext uri="{FF2B5EF4-FFF2-40B4-BE49-F238E27FC236}">
                <a16:creationId xmlns:a16="http://schemas.microsoft.com/office/drawing/2014/main" id="{85524373-8505-0907-9D51-83F24C8DB8E1}"/>
              </a:ext>
            </a:extLst>
          </p:cNvPr>
          <p:cNvSpPr/>
          <p:nvPr/>
        </p:nvSpPr>
        <p:spPr>
          <a:xfrm>
            <a:off x="4155312" y="3291559"/>
            <a:ext cx="100483" cy="80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Tree>
    <p:extLst>
      <p:ext uri="{BB962C8B-B14F-4D97-AF65-F5344CB8AC3E}">
        <p14:creationId xmlns:p14="http://schemas.microsoft.com/office/powerpoint/2010/main" val="41661852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Ein Bild, das Menschliches Gesicht, Person, Kleidung, Lächeln enthält.&#10;&#10;Automatisch generierte Beschreibung">
            <a:extLst>
              <a:ext uri="{FF2B5EF4-FFF2-40B4-BE49-F238E27FC236}">
                <a16:creationId xmlns:a16="http://schemas.microsoft.com/office/drawing/2014/main" id="{02BE59AA-F452-E89E-A09A-AE1978E6CED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76653" y="771305"/>
            <a:ext cx="6267347" cy="4372195"/>
          </a:xfrm>
          <a:prstGeom prst="rect">
            <a:avLst/>
          </a:prstGeom>
        </p:spPr>
      </p:pic>
      <p:sp>
        <p:nvSpPr>
          <p:cNvPr id="21" name="Rechteck 20">
            <a:extLst>
              <a:ext uri="{FF2B5EF4-FFF2-40B4-BE49-F238E27FC236}">
                <a16:creationId xmlns:a16="http://schemas.microsoft.com/office/drawing/2014/main" id="{26CAE2E4-8E8F-9FB7-F1D9-6A4C644E17CA}"/>
              </a:ext>
            </a:extLst>
          </p:cNvPr>
          <p:cNvSpPr/>
          <p:nvPr/>
        </p:nvSpPr>
        <p:spPr>
          <a:xfrm>
            <a:off x="2871301" y="771304"/>
            <a:ext cx="3095991" cy="4372196"/>
          </a:xfrm>
          <a:prstGeom prst="rect">
            <a:avLst/>
          </a:prstGeom>
          <a:gradFill flip="none" rotWithShape="1">
            <a:gsLst>
              <a:gs pos="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22" name="Rechteck 21">
            <a:extLst>
              <a:ext uri="{FF2B5EF4-FFF2-40B4-BE49-F238E27FC236}">
                <a16:creationId xmlns:a16="http://schemas.microsoft.com/office/drawing/2014/main" id="{3D78116A-10FC-6091-16A3-2852FE3390B0}"/>
              </a:ext>
            </a:extLst>
          </p:cNvPr>
          <p:cNvSpPr/>
          <p:nvPr/>
        </p:nvSpPr>
        <p:spPr>
          <a:xfrm rot="5400000">
            <a:off x="4449556" y="-933013"/>
            <a:ext cx="2995473" cy="6404115"/>
          </a:xfrm>
          <a:prstGeom prst="rect">
            <a:avLst/>
          </a:prstGeom>
          <a:gradFill flip="none" rotWithShape="1">
            <a:gsLst>
              <a:gs pos="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41" name="Group 40" hidden="1">
            <a:extLst>
              <a:ext uri="{FF2B5EF4-FFF2-40B4-BE49-F238E27FC236}">
                <a16:creationId xmlns:a16="http://schemas.microsoft.com/office/drawing/2014/main" id="{3DF0B273-BDD2-4B58-8E92-05B741164CC5}"/>
              </a:ext>
            </a:extLst>
          </p:cNvPr>
          <p:cNvGrpSpPr/>
          <p:nvPr/>
        </p:nvGrpSpPr>
        <p:grpSpPr>
          <a:xfrm>
            <a:off x="0" y="375960"/>
            <a:ext cx="9144002" cy="4305579"/>
            <a:chOff x="0" y="375960"/>
            <a:chExt cx="9144002" cy="4305579"/>
          </a:xfrm>
        </p:grpSpPr>
        <p:cxnSp>
          <p:nvCxnSpPr>
            <p:cNvPr id="42" name="Straight Connector 41">
              <a:extLst>
                <a:ext uri="{FF2B5EF4-FFF2-40B4-BE49-F238E27FC236}">
                  <a16:creationId xmlns:a16="http://schemas.microsoft.com/office/drawing/2014/main" id="{A28E7AFC-91A3-42AC-8922-EBDA493DDE9E}"/>
                </a:ext>
              </a:extLst>
            </p:cNvPr>
            <p:cNvCxnSpPr>
              <a:cxnSpLocks/>
            </p:cNvCxnSpPr>
            <p:nvPr/>
          </p:nvCxnSpPr>
          <p:spPr>
            <a:xfrm>
              <a:off x="323850"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DB661DC-57E3-41E6-8712-A0BBB347A6CE}"/>
                </a:ext>
              </a:extLst>
            </p:cNvPr>
            <p:cNvCxnSpPr>
              <a:cxnSpLocks/>
            </p:cNvCxnSpPr>
            <p:nvPr/>
          </p:nvCxnSpPr>
          <p:spPr>
            <a:xfrm flipH="1" flipV="1">
              <a:off x="0" y="1151087"/>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4154FC0-88C7-47E5-A35F-9638FE2CC5DB}"/>
                </a:ext>
              </a:extLst>
            </p:cNvPr>
            <p:cNvCxnSpPr>
              <a:cxnSpLocks/>
            </p:cNvCxnSpPr>
            <p:nvPr/>
          </p:nvCxnSpPr>
          <p:spPr>
            <a:xfrm flipH="1" flipV="1">
              <a:off x="0" y="817562"/>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72F7F-58FA-4C66-B246-79D70B58A66B}"/>
                </a:ext>
              </a:extLst>
            </p:cNvPr>
            <p:cNvCxnSpPr>
              <a:cxnSpLocks/>
            </p:cNvCxnSpPr>
            <p:nvPr/>
          </p:nvCxnSpPr>
          <p:spPr>
            <a:xfrm flipH="1" flipV="1">
              <a:off x="0" y="518223"/>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6095034-1172-4DB1-915E-FCCFA2C9E40C}"/>
                </a:ext>
              </a:extLst>
            </p:cNvPr>
            <p:cNvCxnSpPr>
              <a:cxnSpLocks/>
            </p:cNvCxnSpPr>
            <p:nvPr/>
          </p:nvCxnSpPr>
          <p:spPr>
            <a:xfrm flipH="1" flipV="1">
              <a:off x="0" y="375960"/>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8B4C261-DA66-4915-853A-7E04B922A7EF}"/>
                </a:ext>
              </a:extLst>
            </p:cNvPr>
            <p:cNvCxnSpPr>
              <a:cxnSpLocks/>
            </p:cNvCxnSpPr>
            <p:nvPr/>
          </p:nvCxnSpPr>
          <p:spPr>
            <a:xfrm flipH="1" flipV="1">
              <a:off x="0" y="4681538"/>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E6C26CB-0459-4DDF-BC09-08E04473B6FA}"/>
                </a:ext>
              </a:extLst>
            </p:cNvPr>
            <p:cNvCxnSpPr>
              <a:cxnSpLocks/>
            </p:cNvCxnSpPr>
            <p:nvPr/>
          </p:nvCxnSpPr>
          <p:spPr>
            <a:xfrm>
              <a:off x="1605639"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97C9A65-122E-450D-96A1-61333A0E5C01}"/>
                </a:ext>
              </a:extLst>
            </p:cNvPr>
            <p:cNvCxnSpPr>
              <a:cxnSpLocks/>
            </p:cNvCxnSpPr>
            <p:nvPr/>
          </p:nvCxnSpPr>
          <p:spPr>
            <a:xfrm>
              <a:off x="177451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AE6DF58-82A7-4A03-A384-E56C8798C4E3}"/>
                </a:ext>
              </a:extLst>
            </p:cNvPr>
            <p:cNvCxnSpPr>
              <a:cxnSpLocks/>
            </p:cNvCxnSpPr>
            <p:nvPr/>
          </p:nvCxnSpPr>
          <p:spPr>
            <a:xfrm>
              <a:off x="3045256"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A477516-444D-4240-9B14-AF2AE9281609}"/>
                </a:ext>
              </a:extLst>
            </p:cNvPr>
            <p:cNvCxnSpPr>
              <a:cxnSpLocks/>
            </p:cNvCxnSpPr>
            <p:nvPr/>
          </p:nvCxnSpPr>
          <p:spPr>
            <a:xfrm>
              <a:off x="3208189"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E77587A-BEE6-4F6B-BE1E-6EA29539A047}"/>
                </a:ext>
              </a:extLst>
            </p:cNvPr>
            <p:cNvCxnSpPr>
              <a:cxnSpLocks/>
            </p:cNvCxnSpPr>
            <p:nvPr/>
          </p:nvCxnSpPr>
          <p:spPr>
            <a:xfrm>
              <a:off x="4492314"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4309005-855B-48F4-A592-F071A7BA20A0}"/>
                </a:ext>
              </a:extLst>
            </p:cNvPr>
            <p:cNvCxnSpPr>
              <a:cxnSpLocks/>
            </p:cNvCxnSpPr>
            <p:nvPr/>
          </p:nvCxnSpPr>
          <p:spPr>
            <a:xfrm>
              <a:off x="4654403"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B7F8FB8-16A2-4457-B216-A6C0A46372DB}"/>
                </a:ext>
              </a:extLst>
            </p:cNvPr>
            <p:cNvCxnSpPr>
              <a:cxnSpLocks/>
            </p:cNvCxnSpPr>
            <p:nvPr/>
          </p:nvCxnSpPr>
          <p:spPr>
            <a:xfrm>
              <a:off x="593315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9C30F2A-D04F-41EF-B0F4-62B3F9E02A48}"/>
                </a:ext>
              </a:extLst>
            </p:cNvPr>
            <p:cNvCxnSpPr>
              <a:cxnSpLocks/>
            </p:cNvCxnSpPr>
            <p:nvPr/>
          </p:nvCxnSpPr>
          <p:spPr>
            <a:xfrm>
              <a:off x="6097494"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B00D50F-6439-4738-BFCC-3529F36B1721}"/>
                </a:ext>
              </a:extLst>
            </p:cNvPr>
            <p:cNvCxnSpPr>
              <a:cxnSpLocks/>
            </p:cNvCxnSpPr>
            <p:nvPr/>
          </p:nvCxnSpPr>
          <p:spPr>
            <a:xfrm>
              <a:off x="7375067"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2B7E201-A1AE-41D2-9BBD-20CD244B237E}"/>
                </a:ext>
              </a:extLst>
            </p:cNvPr>
            <p:cNvCxnSpPr>
              <a:cxnSpLocks/>
            </p:cNvCxnSpPr>
            <p:nvPr/>
          </p:nvCxnSpPr>
          <p:spPr>
            <a:xfrm>
              <a:off x="7534548"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E34E46F-7419-4D6D-80C7-6460B90226F4}"/>
                </a:ext>
              </a:extLst>
            </p:cNvPr>
            <p:cNvCxnSpPr>
              <a:cxnSpLocks/>
            </p:cNvCxnSpPr>
            <p:nvPr/>
          </p:nvCxnSpPr>
          <p:spPr>
            <a:xfrm>
              <a:off x="882414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grpSp>
      <p:sp>
        <p:nvSpPr>
          <p:cNvPr id="5" name="Rectangle 4"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1800" b="1">
              <a:solidFill>
                <a:schemeClr val="tx1"/>
              </a:solidFill>
              <a:latin typeface="Delivery" panose="020F0503020204020204" pitchFamily="34" charset="0"/>
              <a:ea typeface="+mj-ea"/>
              <a:cs typeface="+mj-cs"/>
              <a:sym typeface="Delivery" panose="020F0503020204020204" pitchFamily="34" charset="0"/>
            </a:endParaRPr>
          </a:p>
        </p:txBody>
      </p:sp>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a:xfrm>
            <a:off x="324001" y="385163"/>
            <a:ext cx="8045980" cy="493950"/>
          </a:xfrm>
        </p:spPr>
        <p:txBody>
          <a:bodyPr vert="horz"/>
          <a:lstStyle/>
          <a:p>
            <a:br>
              <a:rPr lang="de-DE"/>
            </a:br>
            <a:r>
              <a:rPr lang="de-DE">
                <a:solidFill>
                  <a:srgbClr val="006443"/>
                </a:solidFill>
              </a:rPr>
              <a:t>Klimaschutz einfach machen: </a:t>
            </a:r>
            <a:r>
              <a:rPr lang="de-DE"/>
              <a:t>Ab dem 01.07. bietet DHL die Möglichkeit </a:t>
            </a:r>
            <a:r>
              <a:rPr lang="de-DE">
                <a:solidFill>
                  <a:srgbClr val="006443"/>
                </a:solidFill>
              </a:rPr>
              <a:t>GoGreen Plus </a:t>
            </a:r>
            <a:r>
              <a:rPr lang="de-DE"/>
              <a:t>auf Einzelsendungsbasis zu buchen</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solidFill>
                  <a:schemeClr val="bg1"/>
                </a:solidFill>
              </a:rPr>
              <a:pPr/>
              <a:t>7</a:t>
            </a:fld>
            <a:endParaRPr lang="en-US">
              <a:solidFill>
                <a:schemeClr val="bg1"/>
              </a:solidFill>
            </a:endParaRPr>
          </a:p>
        </p:txBody>
      </p:sp>
      <p:sp>
        <p:nvSpPr>
          <p:cNvPr id="6" name="Footer Placeholder 5"/>
          <p:cNvSpPr>
            <a:spLocks noGrp="1"/>
          </p:cNvSpPr>
          <p:nvPr>
            <p:ph type="ftr" sz="quarter" idx="10"/>
          </p:nvPr>
        </p:nvSpPr>
        <p:spPr>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sp>
        <p:nvSpPr>
          <p:cNvPr id="3" name="Textfeld 2">
            <a:extLst>
              <a:ext uri="{FF2B5EF4-FFF2-40B4-BE49-F238E27FC236}">
                <a16:creationId xmlns:a16="http://schemas.microsoft.com/office/drawing/2014/main" id="{BA95F2B6-AADE-E6F1-AE2B-67397DB521DB}"/>
              </a:ext>
            </a:extLst>
          </p:cNvPr>
          <p:cNvSpPr txBox="1"/>
          <p:nvPr/>
        </p:nvSpPr>
        <p:spPr>
          <a:xfrm>
            <a:off x="420668" y="1586687"/>
            <a:ext cx="4291924" cy="1793820"/>
          </a:xfrm>
          <a:prstGeom prst="rect">
            <a:avLst/>
          </a:prstGeom>
          <a:noFill/>
        </p:spPr>
        <p:txBody>
          <a:bodyPr wrap="square" lIns="0" tIns="0" rIns="0" bIns="0" rtlCol="0">
            <a:noAutofit/>
          </a:bodyPr>
          <a:lstStyle/>
          <a:p>
            <a:pPr marL="273050" indent="-273050" algn="l">
              <a:lnSpc>
                <a:spcPct val="110000"/>
              </a:lnSpc>
              <a:spcAft>
                <a:spcPts val="500"/>
              </a:spcAft>
              <a:buClr>
                <a:srgbClr val="006443"/>
              </a:buClr>
              <a:buSzPct val="120000"/>
              <a:buFont typeface="Wingdings" panose="05000000000000000000" pitchFamily="2" charset="2"/>
              <a:buChar char="§"/>
            </a:pPr>
            <a:r>
              <a:rPr lang="de-DE" sz="1400"/>
              <a:t>Kein manuelles Handling über Abrechnungs-nummern mehr </a:t>
            </a:r>
            <a:r>
              <a:rPr lang="de-DE" sz="1400">
                <a:sym typeface="Wingdings" panose="05000000000000000000" pitchFamily="2" charset="2"/>
              </a:rPr>
              <a:t> </a:t>
            </a:r>
            <a:r>
              <a:rPr lang="de-DE" sz="1400" b="1">
                <a:sym typeface="Wingdings" panose="05000000000000000000" pitchFamily="2" charset="2"/>
              </a:rPr>
              <a:t>Mehr Flexibilität </a:t>
            </a:r>
          </a:p>
          <a:p>
            <a:pPr marL="273050" indent="-273050" algn="l">
              <a:lnSpc>
                <a:spcPct val="110000"/>
              </a:lnSpc>
              <a:spcAft>
                <a:spcPts val="500"/>
              </a:spcAft>
              <a:buClr>
                <a:srgbClr val="006443"/>
              </a:buClr>
              <a:buSzPct val="120000"/>
              <a:buFont typeface="Wingdings" panose="05000000000000000000" pitchFamily="2" charset="2"/>
              <a:buChar char="§"/>
            </a:pPr>
            <a:r>
              <a:rPr lang="de-DE" sz="1400"/>
              <a:t>Möglichkeit zur Reduzierung von CO</a:t>
            </a:r>
            <a:r>
              <a:rPr lang="de-DE" sz="1400" baseline="-25000"/>
              <a:t>2</a:t>
            </a:r>
            <a:r>
              <a:rPr lang="de-DE" sz="1400"/>
              <a:t>e-Emissionen für </a:t>
            </a:r>
            <a:r>
              <a:rPr lang="de-DE" sz="1400" b="1"/>
              <a:t>einzelne Sendungen</a:t>
            </a:r>
          </a:p>
          <a:p>
            <a:pPr marL="273050" indent="-273050" algn="l">
              <a:lnSpc>
                <a:spcPct val="110000"/>
              </a:lnSpc>
              <a:spcAft>
                <a:spcPts val="500"/>
              </a:spcAft>
              <a:buClr>
                <a:srgbClr val="006443"/>
              </a:buClr>
              <a:buSzPct val="120000"/>
              <a:buFont typeface="Wingdings" panose="05000000000000000000" pitchFamily="2" charset="2"/>
              <a:buChar char="§"/>
            </a:pPr>
            <a:r>
              <a:rPr lang="de-DE" sz="1400"/>
              <a:t>Eigene Kontrolle über individuelle </a:t>
            </a:r>
            <a:r>
              <a:rPr lang="de-DE" sz="1400" b="1"/>
              <a:t>CO</a:t>
            </a:r>
            <a:r>
              <a:rPr lang="de-DE" sz="1400" b="1" baseline="-25000"/>
              <a:t>2</a:t>
            </a:r>
            <a:r>
              <a:rPr lang="de-DE" sz="1400" b="1"/>
              <a:t>e-Reduktion</a:t>
            </a:r>
            <a:r>
              <a:rPr lang="de-DE" sz="1400"/>
              <a:t> und </a:t>
            </a:r>
            <a:r>
              <a:rPr lang="de-DE" sz="1400" b="1"/>
              <a:t>nachhaltige Investments</a:t>
            </a:r>
          </a:p>
        </p:txBody>
      </p:sp>
      <p:sp>
        <p:nvSpPr>
          <p:cNvPr id="25" name="Rechteck 24">
            <a:extLst>
              <a:ext uri="{FF2B5EF4-FFF2-40B4-BE49-F238E27FC236}">
                <a16:creationId xmlns:a16="http://schemas.microsoft.com/office/drawing/2014/main" id="{71B7CACE-BD70-F3A6-CCC9-62CB7F7E40CB}"/>
              </a:ext>
            </a:extLst>
          </p:cNvPr>
          <p:cNvSpPr/>
          <p:nvPr/>
        </p:nvSpPr>
        <p:spPr>
          <a:xfrm>
            <a:off x="319706" y="1054751"/>
            <a:ext cx="4320000" cy="451685"/>
          </a:xfrm>
          <a:prstGeom prst="rect">
            <a:avLst/>
          </a:prstGeom>
          <a:solidFill>
            <a:srgbClr val="00644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r>
              <a:rPr lang="de-DE" sz="1400" b="1">
                <a:effectLst/>
                <a:latin typeface="+mn-lt"/>
              </a:rPr>
              <a:t>GoGreen Plus wir komplett in die IT-Landschaft von Deutsche Post und DHL implementiert:</a:t>
            </a:r>
          </a:p>
        </p:txBody>
      </p:sp>
      <p:grpSp>
        <p:nvGrpSpPr>
          <p:cNvPr id="23" name="Gruppieren 22">
            <a:extLst>
              <a:ext uri="{FF2B5EF4-FFF2-40B4-BE49-F238E27FC236}">
                <a16:creationId xmlns:a16="http://schemas.microsoft.com/office/drawing/2014/main" id="{EAF5D928-65FA-1EF1-2056-E40C3D446515}"/>
              </a:ext>
            </a:extLst>
          </p:cNvPr>
          <p:cNvGrpSpPr>
            <a:grpSpLocks noChangeAspect="1"/>
          </p:cNvGrpSpPr>
          <p:nvPr/>
        </p:nvGrpSpPr>
        <p:grpSpPr>
          <a:xfrm>
            <a:off x="713686" y="3205832"/>
            <a:ext cx="2031550" cy="1563588"/>
            <a:chOff x="5032344" y="2534235"/>
            <a:chExt cx="3365348" cy="2590148"/>
          </a:xfrm>
        </p:grpSpPr>
        <p:sp>
          <p:nvSpPr>
            <p:cNvPr id="18" name="Rechteck: abgerundete Ecken 17">
              <a:extLst>
                <a:ext uri="{FF2B5EF4-FFF2-40B4-BE49-F238E27FC236}">
                  <a16:creationId xmlns:a16="http://schemas.microsoft.com/office/drawing/2014/main" id="{2FCF6D09-83FA-7609-CEE4-111758BE1863}"/>
                </a:ext>
              </a:extLst>
            </p:cNvPr>
            <p:cNvSpPr>
              <a:spLocks noChangeAspect="1"/>
            </p:cNvSpPr>
            <p:nvPr/>
          </p:nvSpPr>
          <p:spPr>
            <a:xfrm>
              <a:off x="5032344" y="2534235"/>
              <a:ext cx="3365348" cy="1610702"/>
            </a:xfrm>
            <a:prstGeom prst="roundRect">
              <a:avLst>
                <a:gd name="adj" fmla="val 50000"/>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15" name="Rechteck: abgerundete Ecken 14">
              <a:extLst>
                <a:ext uri="{FF2B5EF4-FFF2-40B4-BE49-F238E27FC236}">
                  <a16:creationId xmlns:a16="http://schemas.microsoft.com/office/drawing/2014/main" id="{4F04BBEF-A3AB-BA28-A496-23D9A3426B14}"/>
                </a:ext>
              </a:extLst>
            </p:cNvPr>
            <p:cNvSpPr/>
            <p:nvPr/>
          </p:nvSpPr>
          <p:spPr>
            <a:xfrm>
              <a:off x="5129013" y="2606159"/>
              <a:ext cx="3172010" cy="1466854"/>
            </a:xfrm>
            <a:prstGeom prst="roundRect">
              <a:avLst>
                <a:gd name="adj" fmla="val 50000"/>
              </a:avLst>
            </a:prstGeom>
            <a:gradFill flip="none" rotWithShape="1">
              <a:gsLst>
                <a:gs pos="0">
                  <a:schemeClr val="bg1"/>
                </a:gs>
                <a:gs pos="56000">
                  <a:srgbClr val="D0E0D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17" name="Ellipse 16">
              <a:extLst>
                <a:ext uri="{FF2B5EF4-FFF2-40B4-BE49-F238E27FC236}">
                  <a16:creationId xmlns:a16="http://schemas.microsoft.com/office/drawing/2014/main" id="{AA4325B3-B070-42D3-F845-D125F874ED62}"/>
                </a:ext>
              </a:extLst>
            </p:cNvPr>
            <p:cNvSpPr>
              <a:spLocks noChangeAspect="1"/>
            </p:cNvSpPr>
            <p:nvPr/>
          </p:nvSpPr>
          <p:spPr>
            <a:xfrm>
              <a:off x="6842115" y="2639405"/>
              <a:ext cx="1400362" cy="1400362"/>
            </a:xfrm>
            <a:prstGeom prst="ellipse">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algn="l"/>
              <a:endParaRPr lang="de-DE" sz="1200" err="1">
                <a:solidFill>
                  <a:schemeClr val="tx1"/>
                </a:solidFill>
              </a:endParaRPr>
            </a:p>
          </p:txBody>
        </p:sp>
        <p:pic>
          <p:nvPicPr>
            <p:cNvPr id="20" name="Grafik 19" descr="Ein Bild, das Grafiken, Symbol, Clipart, Grafikdesign enthält.&#10;&#10;Automatisch generierte Beschreibung">
              <a:extLst>
                <a:ext uri="{FF2B5EF4-FFF2-40B4-BE49-F238E27FC236}">
                  <a16:creationId xmlns:a16="http://schemas.microsoft.com/office/drawing/2014/main" id="{9737B82F-D035-DA01-DF3E-131E3483368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872481" y="2669771"/>
              <a:ext cx="1339630" cy="1339630"/>
            </a:xfrm>
            <a:prstGeom prst="rect">
              <a:avLst/>
            </a:prstGeom>
          </p:spPr>
        </p:pic>
        <p:pic>
          <p:nvPicPr>
            <p:cNvPr id="27" name="Grafik 26" descr="Ein Bild, das Grafiken, Symbol, Clipart, Design enthält.&#10;&#10;Automatisch generierte Beschreibung">
              <a:extLst>
                <a:ext uri="{FF2B5EF4-FFF2-40B4-BE49-F238E27FC236}">
                  <a16:creationId xmlns:a16="http://schemas.microsoft.com/office/drawing/2014/main" id="{177AB391-EDC8-831D-6F49-33B7F73A43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98536" y="3611016"/>
              <a:ext cx="1513367" cy="1513367"/>
            </a:xfrm>
            <a:prstGeom prst="rect">
              <a:avLst/>
            </a:prstGeom>
          </p:spPr>
        </p:pic>
      </p:grpSp>
    </p:spTree>
    <p:extLst>
      <p:ext uri="{BB962C8B-B14F-4D97-AF65-F5344CB8AC3E}">
        <p14:creationId xmlns:p14="http://schemas.microsoft.com/office/powerpoint/2010/main" val="1954430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descr="Ein Bild, das draußen, Kleidung, Person, Fahrzeug enthält.&#10;&#10;KI-generierte Inhalte können fehlerhaft sein.">
            <a:extLst>
              <a:ext uri="{FF2B5EF4-FFF2-40B4-BE49-F238E27FC236}">
                <a16:creationId xmlns:a16="http://schemas.microsoft.com/office/drawing/2014/main" id="{354D25E9-C68C-7012-7B2F-7F1882C21A5F}"/>
              </a:ext>
            </a:extLst>
          </p:cNvPr>
          <p:cNvPicPr>
            <a:picLocks noChangeAspect="1"/>
          </p:cNvPicPr>
          <p:nvPr/>
        </p:nvPicPr>
        <p:blipFill rotWithShape="1">
          <a:blip r:embed="rId5">
            <a:extLst>
              <a:ext uri="{28A0092B-C50C-407E-A947-70E740481C1C}">
                <a14:useLocalDpi xmlns:a14="http://schemas.microsoft.com/office/drawing/2010/main" val="0"/>
              </a:ext>
            </a:extLst>
          </a:blip>
          <a:srcRect r="20006"/>
          <a:stretch/>
        </p:blipFill>
        <p:spPr>
          <a:xfrm>
            <a:off x="4063571" y="907721"/>
            <a:ext cx="5080429" cy="4235779"/>
          </a:xfrm>
          <a:prstGeom prst="rect">
            <a:avLst/>
          </a:prstGeom>
        </p:spPr>
      </p:pic>
      <p:sp>
        <p:nvSpPr>
          <p:cNvPr id="24" name="Rechteck 23">
            <a:extLst>
              <a:ext uri="{FF2B5EF4-FFF2-40B4-BE49-F238E27FC236}">
                <a16:creationId xmlns:a16="http://schemas.microsoft.com/office/drawing/2014/main" id="{3A160CC9-C80D-041E-4614-9DB09C3487E2}"/>
              </a:ext>
            </a:extLst>
          </p:cNvPr>
          <p:cNvSpPr/>
          <p:nvPr/>
        </p:nvSpPr>
        <p:spPr>
          <a:xfrm>
            <a:off x="4058221" y="771304"/>
            <a:ext cx="2671673" cy="4372196"/>
          </a:xfrm>
          <a:prstGeom prst="rect">
            <a:avLst/>
          </a:prstGeom>
          <a:gradFill flip="none" rotWithShape="1">
            <a:gsLst>
              <a:gs pos="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26" name="Rechteck 25">
            <a:extLst>
              <a:ext uri="{FF2B5EF4-FFF2-40B4-BE49-F238E27FC236}">
                <a16:creationId xmlns:a16="http://schemas.microsoft.com/office/drawing/2014/main" id="{FFDA5C4F-20EB-B7C8-723A-E04CD7DF05A0}"/>
              </a:ext>
            </a:extLst>
          </p:cNvPr>
          <p:cNvSpPr/>
          <p:nvPr/>
        </p:nvSpPr>
        <p:spPr>
          <a:xfrm rot="5400000">
            <a:off x="5176930" y="-205639"/>
            <a:ext cx="2859060" cy="5085779"/>
          </a:xfrm>
          <a:prstGeom prst="rect">
            <a:avLst/>
          </a:prstGeom>
          <a:gradFill flip="none" rotWithShape="1">
            <a:gsLst>
              <a:gs pos="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sp>
        <p:nvSpPr>
          <p:cNvPr id="13" name="Rechteck 12">
            <a:extLst>
              <a:ext uri="{FF2B5EF4-FFF2-40B4-BE49-F238E27FC236}">
                <a16:creationId xmlns:a16="http://schemas.microsoft.com/office/drawing/2014/main" id="{5207DC9B-01B9-65AE-0912-D14ADBB5B946}"/>
              </a:ext>
            </a:extLst>
          </p:cNvPr>
          <p:cNvSpPr/>
          <p:nvPr/>
        </p:nvSpPr>
        <p:spPr>
          <a:xfrm>
            <a:off x="319707" y="1044122"/>
            <a:ext cx="5145092" cy="34697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de-DE" sz="1200" err="1">
              <a:solidFill>
                <a:schemeClr val="tx1"/>
              </a:solidFill>
            </a:endParaRPr>
          </a:p>
        </p:txBody>
      </p:sp>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41" name="Group 40" hidden="1">
            <a:extLst>
              <a:ext uri="{FF2B5EF4-FFF2-40B4-BE49-F238E27FC236}">
                <a16:creationId xmlns:a16="http://schemas.microsoft.com/office/drawing/2014/main" id="{3DF0B273-BDD2-4B58-8E92-05B741164CC5}"/>
              </a:ext>
            </a:extLst>
          </p:cNvPr>
          <p:cNvGrpSpPr/>
          <p:nvPr/>
        </p:nvGrpSpPr>
        <p:grpSpPr>
          <a:xfrm>
            <a:off x="0" y="375960"/>
            <a:ext cx="9144002" cy="4305579"/>
            <a:chOff x="0" y="375960"/>
            <a:chExt cx="9144002" cy="4305579"/>
          </a:xfrm>
        </p:grpSpPr>
        <p:cxnSp>
          <p:nvCxnSpPr>
            <p:cNvPr id="42" name="Straight Connector 41">
              <a:extLst>
                <a:ext uri="{FF2B5EF4-FFF2-40B4-BE49-F238E27FC236}">
                  <a16:creationId xmlns:a16="http://schemas.microsoft.com/office/drawing/2014/main" id="{A28E7AFC-91A3-42AC-8922-EBDA493DDE9E}"/>
                </a:ext>
              </a:extLst>
            </p:cNvPr>
            <p:cNvCxnSpPr>
              <a:cxnSpLocks/>
            </p:cNvCxnSpPr>
            <p:nvPr/>
          </p:nvCxnSpPr>
          <p:spPr>
            <a:xfrm>
              <a:off x="323850"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DB661DC-57E3-41E6-8712-A0BBB347A6CE}"/>
                </a:ext>
              </a:extLst>
            </p:cNvPr>
            <p:cNvCxnSpPr>
              <a:cxnSpLocks/>
            </p:cNvCxnSpPr>
            <p:nvPr/>
          </p:nvCxnSpPr>
          <p:spPr>
            <a:xfrm flipH="1" flipV="1">
              <a:off x="0" y="1151087"/>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4154FC0-88C7-47E5-A35F-9638FE2CC5DB}"/>
                </a:ext>
              </a:extLst>
            </p:cNvPr>
            <p:cNvCxnSpPr>
              <a:cxnSpLocks/>
            </p:cNvCxnSpPr>
            <p:nvPr/>
          </p:nvCxnSpPr>
          <p:spPr>
            <a:xfrm flipH="1" flipV="1">
              <a:off x="0" y="817562"/>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72F7F-58FA-4C66-B246-79D70B58A66B}"/>
                </a:ext>
              </a:extLst>
            </p:cNvPr>
            <p:cNvCxnSpPr>
              <a:cxnSpLocks/>
            </p:cNvCxnSpPr>
            <p:nvPr/>
          </p:nvCxnSpPr>
          <p:spPr>
            <a:xfrm flipH="1" flipV="1">
              <a:off x="0" y="518223"/>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6095034-1172-4DB1-915E-FCCFA2C9E40C}"/>
                </a:ext>
              </a:extLst>
            </p:cNvPr>
            <p:cNvCxnSpPr>
              <a:cxnSpLocks/>
            </p:cNvCxnSpPr>
            <p:nvPr/>
          </p:nvCxnSpPr>
          <p:spPr>
            <a:xfrm flipH="1" flipV="1">
              <a:off x="0" y="375960"/>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8B4C261-DA66-4915-853A-7E04B922A7EF}"/>
                </a:ext>
              </a:extLst>
            </p:cNvPr>
            <p:cNvCxnSpPr>
              <a:cxnSpLocks/>
            </p:cNvCxnSpPr>
            <p:nvPr/>
          </p:nvCxnSpPr>
          <p:spPr>
            <a:xfrm flipH="1" flipV="1">
              <a:off x="0" y="4681538"/>
              <a:ext cx="9144002" cy="1"/>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E6C26CB-0459-4DDF-BC09-08E04473B6FA}"/>
                </a:ext>
              </a:extLst>
            </p:cNvPr>
            <p:cNvCxnSpPr>
              <a:cxnSpLocks/>
            </p:cNvCxnSpPr>
            <p:nvPr/>
          </p:nvCxnSpPr>
          <p:spPr>
            <a:xfrm>
              <a:off x="1605639"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97C9A65-122E-450D-96A1-61333A0E5C01}"/>
                </a:ext>
              </a:extLst>
            </p:cNvPr>
            <p:cNvCxnSpPr>
              <a:cxnSpLocks/>
            </p:cNvCxnSpPr>
            <p:nvPr/>
          </p:nvCxnSpPr>
          <p:spPr>
            <a:xfrm>
              <a:off x="177451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AE6DF58-82A7-4A03-A384-E56C8798C4E3}"/>
                </a:ext>
              </a:extLst>
            </p:cNvPr>
            <p:cNvCxnSpPr>
              <a:cxnSpLocks/>
            </p:cNvCxnSpPr>
            <p:nvPr/>
          </p:nvCxnSpPr>
          <p:spPr>
            <a:xfrm>
              <a:off x="3045256"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A477516-444D-4240-9B14-AF2AE9281609}"/>
                </a:ext>
              </a:extLst>
            </p:cNvPr>
            <p:cNvCxnSpPr>
              <a:cxnSpLocks/>
            </p:cNvCxnSpPr>
            <p:nvPr/>
          </p:nvCxnSpPr>
          <p:spPr>
            <a:xfrm>
              <a:off x="3208189"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E77587A-BEE6-4F6B-BE1E-6EA29539A047}"/>
                </a:ext>
              </a:extLst>
            </p:cNvPr>
            <p:cNvCxnSpPr>
              <a:cxnSpLocks/>
            </p:cNvCxnSpPr>
            <p:nvPr/>
          </p:nvCxnSpPr>
          <p:spPr>
            <a:xfrm>
              <a:off x="4492314"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4309005-855B-48F4-A592-F071A7BA20A0}"/>
                </a:ext>
              </a:extLst>
            </p:cNvPr>
            <p:cNvCxnSpPr>
              <a:cxnSpLocks/>
            </p:cNvCxnSpPr>
            <p:nvPr/>
          </p:nvCxnSpPr>
          <p:spPr>
            <a:xfrm>
              <a:off x="4654403"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B7F8FB8-16A2-4457-B216-A6C0A46372DB}"/>
                </a:ext>
              </a:extLst>
            </p:cNvPr>
            <p:cNvCxnSpPr>
              <a:cxnSpLocks/>
            </p:cNvCxnSpPr>
            <p:nvPr/>
          </p:nvCxnSpPr>
          <p:spPr>
            <a:xfrm>
              <a:off x="593315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9C30F2A-D04F-41EF-B0F4-62B3F9E02A48}"/>
                </a:ext>
              </a:extLst>
            </p:cNvPr>
            <p:cNvCxnSpPr>
              <a:cxnSpLocks/>
            </p:cNvCxnSpPr>
            <p:nvPr/>
          </p:nvCxnSpPr>
          <p:spPr>
            <a:xfrm>
              <a:off x="6097494"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B00D50F-6439-4738-BFCC-3529F36B1721}"/>
                </a:ext>
              </a:extLst>
            </p:cNvPr>
            <p:cNvCxnSpPr>
              <a:cxnSpLocks/>
            </p:cNvCxnSpPr>
            <p:nvPr/>
          </p:nvCxnSpPr>
          <p:spPr>
            <a:xfrm>
              <a:off x="7375067"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2B7E201-A1AE-41D2-9BBD-20CD244B237E}"/>
                </a:ext>
              </a:extLst>
            </p:cNvPr>
            <p:cNvCxnSpPr>
              <a:cxnSpLocks/>
            </p:cNvCxnSpPr>
            <p:nvPr/>
          </p:nvCxnSpPr>
          <p:spPr>
            <a:xfrm>
              <a:off x="7534548"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E34E46F-7419-4D6D-80C7-6460B90226F4}"/>
                </a:ext>
              </a:extLst>
            </p:cNvPr>
            <p:cNvCxnSpPr>
              <a:cxnSpLocks/>
            </p:cNvCxnSpPr>
            <p:nvPr/>
          </p:nvCxnSpPr>
          <p:spPr>
            <a:xfrm>
              <a:off x="8824145" y="1150938"/>
              <a:ext cx="149" cy="3530600"/>
            </a:xfrm>
            <a:prstGeom prst="line">
              <a:avLst/>
            </a:prstGeom>
            <a:ln w="6350">
              <a:solidFill>
                <a:srgbClr val="1A9CFC"/>
              </a:solidFill>
            </a:ln>
          </p:spPr>
          <p:style>
            <a:lnRef idx="1">
              <a:schemeClr val="accent1"/>
            </a:lnRef>
            <a:fillRef idx="0">
              <a:schemeClr val="accent1"/>
            </a:fillRef>
            <a:effectRef idx="0">
              <a:schemeClr val="accent1"/>
            </a:effectRef>
            <a:fontRef idx="minor">
              <a:schemeClr val="tx1"/>
            </a:fontRef>
          </p:style>
        </p:cxnSp>
      </p:grpSp>
      <p:sp>
        <p:nvSpPr>
          <p:cNvPr id="5" name="Rectangle 4"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1800" b="1">
              <a:solidFill>
                <a:schemeClr val="tx1"/>
              </a:solidFill>
              <a:latin typeface="Delivery" panose="020F0503020204020204" pitchFamily="34" charset="0"/>
              <a:ea typeface="+mj-ea"/>
              <a:cs typeface="+mj-cs"/>
              <a:sym typeface="Delivery" panose="020F0503020204020204" pitchFamily="34" charset="0"/>
            </a:endParaRPr>
          </a:p>
        </p:txBody>
      </p:sp>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a:xfrm>
            <a:off x="324001" y="385163"/>
            <a:ext cx="8045980" cy="493950"/>
          </a:xfrm>
        </p:spPr>
        <p:txBody>
          <a:bodyPr vert="horz"/>
          <a:lstStyle/>
          <a:p>
            <a:br>
              <a:rPr lang="de-DE"/>
            </a:br>
            <a:r>
              <a:rPr lang="de-DE"/>
              <a:t>Durch die Buchung auf Einzelsendungsbasis ergeben sich völlig neue Möglichkeiten der Refinanzierung von </a:t>
            </a:r>
            <a:r>
              <a:rPr lang="de-DE">
                <a:solidFill>
                  <a:srgbClr val="006443"/>
                </a:solidFill>
              </a:rPr>
              <a:t>GoGreen Plus</a:t>
            </a:r>
            <a:r>
              <a:rPr lang="de-DE" b="0">
                <a:solidFill>
                  <a:srgbClr val="006443"/>
                </a:solidFill>
              </a:rPr>
              <a:t>,</a:t>
            </a:r>
            <a:r>
              <a:rPr lang="de-DE">
                <a:solidFill>
                  <a:srgbClr val="006443"/>
                </a:solidFill>
              </a:rPr>
              <a:t> </a:t>
            </a:r>
            <a:r>
              <a:rPr lang="de-DE"/>
              <a:t>bspw. im </a:t>
            </a:r>
            <a:r>
              <a:rPr lang="de-DE" err="1"/>
              <a:t>CheckOut</a:t>
            </a:r>
            <a:endParaRPr lang="de-DE"/>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solidFill>
                  <a:schemeClr val="bg1"/>
                </a:solidFill>
              </a:rPr>
              <a:pPr/>
              <a:t>8</a:t>
            </a:fld>
            <a:endParaRPr lang="en-US">
              <a:solidFill>
                <a:schemeClr val="bg1"/>
              </a:solidFill>
            </a:endParaRPr>
          </a:p>
        </p:txBody>
      </p:sp>
      <p:sp>
        <p:nvSpPr>
          <p:cNvPr id="6" name="Footer Placeholder 5"/>
          <p:cNvSpPr>
            <a:spLocks noGrp="1"/>
          </p:cNvSpPr>
          <p:nvPr>
            <p:ph type="ftr" sz="quarter" idx="10"/>
          </p:nvPr>
        </p:nvSpPr>
        <p:spPr>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pic>
        <p:nvPicPr>
          <p:cNvPr id="9" name="Grafik 8" descr="Ein Bild, das Text, Screenshot, Schrift enthält.&#10;&#10;KI-generierte Inhalte können fehlerhaft sein.">
            <a:extLst>
              <a:ext uri="{FF2B5EF4-FFF2-40B4-BE49-F238E27FC236}">
                <a16:creationId xmlns:a16="http://schemas.microsoft.com/office/drawing/2014/main" id="{B48D3ABB-99B0-9321-64AD-70B7FC7EE58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098" y="1105672"/>
            <a:ext cx="5004310" cy="3380542"/>
          </a:xfrm>
          <a:prstGeom prst="rect">
            <a:avLst/>
          </a:prstGeom>
        </p:spPr>
      </p:pic>
    </p:spTree>
    <p:extLst>
      <p:ext uri="{BB962C8B-B14F-4D97-AF65-F5344CB8AC3E}">
        <p14:creationId xmlns:p14="http://schemas.microsoft.com/office/powerpoint/2010/main" val="26115927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C2FEFB-FFE3-4D8F-B1C1-5796BCF3953C}"/>
              </a:ext>
            </a:extLst>
          </p:cNvPr>
          <p:cNvSpPr>
            <a:spLocks noGrp="1"/>
          </p:cNvSpPr>
          <p:nvPr>
            <p:ph type="title"/>
          </p:nvPr>
        </p:nvSpPr>
        <p:spPr/>
        <p:txBody>
          <a:bodyPr/>
          <a:lstStyle/>
          <a:p>
            <a:r>
              <a:rPr lang="de-DE">
                <a:solidFill>
                  <a:schemeClr val="tx1"/>
                </a:solidFill>
              </a:rPr>
              <a:t>Vollständige Transparenz: Unsere Emissionen werden entlang der gesamte Lieferkette nach weltweit anerkannten Standards jährlich extern geprüft</a:t>
            </a:r>
          </a:p>
        </p:txBody>
      </p:sp>
      <p:sp>
        <p:nvSpPr>
          <p:cNvPr id="4" name="Foliennummernplatzhalter 3">
            <a:extLst>
              <a:ext uri="{FF2B5EF4-FFF2-40B4-BE49-F238E27FC236}">
                <a16:creationId xmlns:a16="http://schemas.microsoft.com/office/drawing/2014/main" id="{EB600081-A672-4D2F-8606-214B6A3F1DAD}"/>
              </a:ext>
            </a:extLst>
          </p:cNvPr>
          <p:cNvSpPr>
            <a:spLocks noGrp="1"/>
          </p:cNvSpPr>
          <p:nvPr>
            <p:ph type="sldNum" sz="quarter" idx="11"/>
          </p:nvPr>
        </p:nvSpPr>
        <p:spPr/>
        <p:txBody>
          <a:bodyPr/>
          <a:lstStyle/>
          <a:p>
            <a:fld id="{C2245BC1-4D7B-4ED3-8F01-840FA35126C6}" type="slidenum">
              <a:rPr lang="en-US" smtClean="0"/>
              <a:pPr/>
              <a:t>9</a:t>
            </a:fld>
            <a:endParaRPr lang="en-US"/>
          </a:p>
        </p:txBody>
      </p:sp>
      <p:sp>
        <p:nvSpPr>
          <p:cNvPr id="73" name="Foliennummernplatzhalter 3">
            <a:extLst>
              <a:ext uri="{FF2B5EF4-FFF2-40B4-BE49-F238E27FC236}">
                <a16:creationId xmlns:a16="http://schemas.microsoft.com/office/drawing/2014/main" id="{BB3FA493-8716-4803-BA98-F2620B1BC3A5}"/>
              </a:ext>
            </a:extLst>
          </p:cNvPr>
          <p:cNvSpPr txBox="1">
            <a:spLocks/>
          </p:cNvSpPr>
          <p:nvPr/>
        </p:nvSpPr>
        <p:spPr>
          <a:xfrm>
            <a:off x="6750558" y="2719544"/>
            <a:ext cx="378469" cy="138499"/>
          </a:xfrm>
          <a:prstGeom prst="rect">
            <a:avLst/>
          </a:prstGeom>
        </p:spPr>
        <p:txBody>
          <a:bodyPr vert="horz" lIns="0" tIns="0" rIns="0" bIns="0" rtlCol="0" anchor="ctr"/>
          <a:lstStyle>
            <a:defPPr>
              <a:defRPr lang="de-DE"/>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C2245BC1-4D7B-4ED3-8F01-840FA35126C6}" type="slidenum">
              <a:rPr lang="en-US" smtClean="0"/>
              <a:pPr>
                <a:defRPr/>
              </a:pPr>
              <a:t>9</a:t>
            </a:fld>
            <a:endParaRPr lang="en-US">
              <a:solidFill>
                <a:prstClr val="black"/>
              </a:solidFill>
              <a:latin typeface="Delivery"/>
            </a:endParaRPr>
          </a:p>
        </p:txBody>
      </p:sp>
      <p:sp>
        <p:nvSpPr>
          <p:cNvPr id="75" name="Rechteck 74">
            <a:extLst>
              <a:ext uri="{FF2B5EF4-FFF2-40B4-BE49-F238E27FC236}">
                <a16:creationId xmlns:a16="http://schemas.microsoft.com/office/drawing/2014/main" id="{62322EA9-2804-4B17-A66F-EE4AED93E9CA}"/>
              </a:ext>
            </a:extLst>
          </p:cNvPr>
          <p:cNvSpPr/>
          <p:nvPr/>
        </p:nvSpPr>
        <p:spPr>
          <a:xfrm>
            <a:off x="5409158" y="1438415"/>
            <a:ext cx="3404939" cy="3240000"/>
          </a:xfrm>
          <a:prstGeom prst="rect">
            <a:avLst/>
          </a:prstGeom>
          <a:solidFill>
            <a:srgbClr val="E5E5E5"/>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
        <p:nvSpPr>
          <p:cNvPr id="87" name="Rechteck 86">
            <a:extLst>
              <a:ext uri="{FF2B5EF4-FFF2-40B4-BE49-F238E27FC236}">
                <a16:creationId xmlns:a16="http://schemas.microsoft.com/office/drawing/2014/main" id="{E939E39D-B99C-4715-8C5C-576FB36A5041}"/>
              </a:ext>
            </a:extLst>
          </p:cNvPr>
          <p:cNvSpPr/>
          <p:nvPr/>
        </p:nvSpPr>
        <p:spPr>
          <a:xfrm>
            <a:off x="6058807" y="888071"/>
            <a:ext cx="2772000" cy="534368"/>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bIns="36000" rtlCol="0" anchor="ctr">
            <a:noAutofit/>
          </a:bodyPr>
          <a:lstStyle/>
          <a:p>
            <a:r>
              <a:rPr lang="de-DE" sz="1200" b="1">
                <a:solidFill>
                  <a:schemeClr val="bg1"/>
                </a:solidFill>
                <a:latin typeface="+mj-lt"/>
                <a:cs typeface="Delivery Arabic Light" panose="020F0403020204020204" pitchFamily="34" charset="-78"/>
              </a:rPr>
              <a:t>Externe Prüfung aller Berechnungen und Maßnahmen jährlich durch unabhängige Institute</a:t>
            </a:r>
          </a:p>
        </p:txBody>
      </p:sp>
      <p:sp>
        <p:nvSpPr>
          <p:cNvPr id="104" name="AutoShape 37">
            <a:extLst>
              <a:ext uri="{FF2B5EF4-FFF2-40B4-BE49-F238E27FC236}">
                <a16:creationId xmlns:a16="http://schemas.microsoft.com/office/drawing/2014/main" id="{51332AF7-D8C8-4DB5-9A30-8C3D7EE33AA1}"/>
              </a:ext>
            </a:extLst>
          </p:cNvPr>
          <p:cNvSpPr>
            <a:spLocks noChangeArrowheads="1"/>
          </p:cNvSpPr>
          <p:nvPr>
            <p:custDataLst>
              <p:tags r:id="rId1"/>
            </p:custDataLst>
          </p:nvPr>
        </p:nvSpPr>
        <p:spPr bwMode="gray">
          <a:xfrm>
            <a:off x="5999223" y="1461181"/>
            <a:ext cx="2808000" cy="3212170"/>
          </a:xfrm>
          <a:prstGeom prst="homePlate">
            <a:avLst>
              <a:gd name="adj" fmla="val 0"/>
            </a:avLst>
          </a:pr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18" name="AutoShape 56">
            <a:extLst>
              <a:ext uri="{FF2B5EF4-FFF2-40B4-BE49-F238E27FC236}">
                <a16:creationId xmlns:a16="http://schemas.microsoft.com/office/drawing/2014/main" id="{9DABC1F2-0AAB-4CA3-BDE4-F5D7343C46F9}"/>
              </a:ext>
            </a:extLst>
          </p:cNvPr>
          <p:cNvSpPr>
            <a:spLocks noChangeArrowheads="1"/>
          </p:cNvSpPr>
          <p:nvPr>
            <p:custDataLst>
              <p:tags r:id="rId2"/>
            </p:custDataLst>
          </p:nvPr>
        </p:nvSpPr>
        <p:spPr bwMode="gray">
          <a:xfrm>
            <a:off x="5593954" y="1423461"/>
            <a:ext cx="933226" cy="3272400"/>
          </a:xfrm>
          <a:prstGeom prst="homePlate">
            <a:avLst>
              <a:gd name="adj" fmla="val 49812"/>
            </a:avLst>
          </a:prstGeom>
          <a:gradFill rotWithShape="1">
            <a:gsLst>
              <a:gs pos="0">
                <a:schemeClr val="bg1"/>
              </a:gs>
              <a:gs pos="100000">
                <a:srgbClr val="006443"/>
              </a:gs>
            </a:gsLst>
            <a:lin ang="0" scaled="1"/>
          </a:gradFill>
          <a:ln>
            <a:noFill/>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19" name="AutoShape 60">
            <a:extLst>
              <a:ext uri="{FF2B5EF4-FFF2-40B4-BE49-F238E27FC236}">
                <a16:creationId xmlns:a16="http://schemas.microsoft.com/office/drawing/2014/main" id="{F878FE31-F36A-4A52-8463-ABF0DFB2D1FC}"/>
              </a:ext>
            </a:extLst>
          </p:cNvPr>
          <p:cNvSpPr>
            <a:spLocks noChangeArrowheads="1"/>
          </p:cNvSpPr>
          <p:nvPr>
            <p:custDataLst>
              <p:tags r:id="rId3"/>
            </p:custDataLst>
          </p:nvPr>
        </p:nvSpPr>
        <p:spPr bwMode="gray">
          <a:xfrm>
            <a:off x="6334653" y="2783851"/>
            <a:ext cx="164201" cy="541858"/>
          </a:xfrm>
          <a:prstGeom prst="chevron">
            <a:avLst>
              <a:gd name="adj" fmla="val 46134"/>
            </a:avLst>
          </a:prstGeom>
          <a:solidFill>
            <a:srgbClr val="006443"/>
          </a:solidFill>
          <a:ln w="9525" algn="ctr">
            <a:solidFill>
              <a:srgbClr val="FFFFFF"/>
            </a:solidFill>
            <a:miter lim="800000"/>
            <a:headEnd/>
            <a:tailEnd/>
          </a:ln>
          <a:effectLst/>
        </p:spPr>
        <p:txBody>
          <a:bodyPr lIns="144000" tIns="144000" rIns="144000" bIns="14400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20" name="AutoShape 59">
            <a:extLst>
              <a:ext uri="{FF2B5EF4-FFF2-40B4-BE49-F238E27FC236}">
                <a16:creationId xmlns:a16="http://schemas.microsoft.com/office/drawing/2014/main" id="{D5DD0A63-0674-4AC7-BAB0-6FDE9827F184}"/>
              </a:ext>
            </a:extLst>
          </p:cNvPr>
          <p:cNvSpPr>
            <a:spLocks noChangeArrowheads="1"/>
          </p:cNvSpPr>
          <p:nvPr>
            <p:custDataLst>
              <p:tags r:id="rId4"/>
            </p:custDataLst>
          </p:nvPr>
        </p:nvSpPr>
        <p:spPr bwMode="gray">
          <a:xfrm>
            <a:off x="6219237" y="2783851"/>
            <a:ext cx="164201" cy="541858"/>
          </a:xfrm>
          <a:prstGeom prst="chevron">
            <a:avLst>
              <a:gd name="adj" fmla="val 46134"/>
            </a:avLst>
          </a:prstGeom>
          <a:solidFill>
            <a:srgbClr val="C0C0C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17" name="AutoShape 38">
            <a:extLst>
              <a:ext uri="{FF2B5EF4-FFF2-40B4-BE49-F238E27FC236}">
                <a16:creationId xmlns:a16="http://schemas.microsoft.com/office/drawing/2014/main" id="{E98372B4-3E38-41FF-9AA9-AF53F3A5D2A9}"/>
              </a:ext>
            </a:extLst>
          </p:cNvPr>
          <p:cNvSpPr>
            <a:spLocks noChangeArrowheads="1"/>
          </p:cNvSpPr>
          <p:nvPr>
            <p:custDataLst>
              <p:tags r:id="rId5"/>
            </p:custDataLst>
          </p:nvPr>
        </p:nvSpPr>
        <p:spPr bwMode="gray">
          <a:xfrm>
            <a:off x="2909059" y="1438415"/>
            <a:ext cx="3358974" cy="3241688"/>
          </a:xfrm>
          <a:prstGeom prst="homePlate">
            <a:avLst>
              <a:gd name="adj" fmla="val 14447"/>
            </a:avLst>
          </a:prstGeom>
          <a:solidFill>
            <a:srgbClr val="E5E5E5"/>
          </a:solidFill>
          <a:ln w="1905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21" name="AutoShape 37">
            <a:extLst>
              <a:ext uri="{FF2B5EF4-FFF2-40B4-BE49-F238E27FC236}">
                <a16:creationId xmlns:a16="http://schemas.microsoft.com/office/drawing/2014/main" id="{07957ECD-8DD4-43DC-BC86-4075C2323A3F}"/>
              </a:ext>
            </a:extLst>
          </p:cNvPr>
          <p:cNvSpPr>
            <a:spLocks noChangeArrowheads="1"/>
          </p:cNvSpPr>
          <p:nvPr>
            <p:custDataLst>
              <p:tags r:id="rId6"/>
            </p:custDataLst>
          </p:nvPr>
        </p:nvSpPr>
        <p:spPr bwMode="gray">
          <a:xfrm>
            <a:off x="2893723" y="1458432"/>
            <a:ext cx="3222509" cy="1008000"/>
          </a:xfrm>
          <a:custGeom>
            <a:avLst/>
            <a:gdLst>
              <a:gd name="connsiteX0" fmla="*/ 0 w 2687973"/>
              <a:gd name="connsiteY0" fmla="*/ 0 h 1008000"/>
              <a:gd name="connsiteX1" fmla="*/ 2687973 w 2687973"/>
              <a:gd name="connsiteY1" fmla="*/ 0 h 1008000"/>
              <a:gd name="connsiteX2" fmla="*/ 2687973 w 2687973"/>
              <a:gd name="connsiteY2" fmla="*/ 504000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12909 w 2687973"/>
              <a:gd name="connsiteY1" fmla="*/ 0 h 1008000"/>
              <a:gd name="connsiteX2" fmla="*/ 2687973 w 2687973"/>
              <a:gd name="connsiteY2" fmla="*/ 504000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12909 w 2687973"/>
              <a:gd name="connsiteY1" fmla="*/ 0 h 1008000"/>
              <a:gd name="connsiteX2" fmla="*/ 2554159 w 2687973"/>
              <a:gd name="connsiteY2" fmla="*/ 511434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27777 w 2687973"/>
              <a:gd name="connsiteY1" fmla="*/ 0 h 1008000"/>
              <a:gd name="connsiteX2" fmla="*/ 2554159 w 2687973"/>
              <a:gd name="connsiteY2" fmla="*/ 511434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27777 w 2687973"/>
              <a:gd name="connsiteY1" fmla="*/ 0 h 1008000"/>
              <a:gd name="connsiteX2" fmla="*/ 2554159 w 2687973"/>
              <a:gd name="connsiteY2" fmla="*/ 511434 h 1008000"/>
              <a:gd name="connsiteX3" fmla="*/ 2687973 w 2687973"/>
              <a:gd name="connsiteY3" fmla="*/ 1008000 h 1008000"/>
              <a:gd name="connsiteX4" fmla="*/ 248712 w 2687973"/>
              <a:gd name="connsiteY4" fmla="*/ 1008000 h 1008000"/>
              <a:gd name="connsiteX5" fmla="*/ 0 w 2687973"/>
              <a:gd name="connsiteY5" fmla="*/ 0 h 1008000"/>
              <a:gd name="connsiteX0" fmla="*/ 0 w 2687973"/>
              <a:gd name="connsiteY0" fmla="*/ 0 h 1008000"/>
              <a:gd name="connsiteX1" fmla="*/ 2427777 w 2687973"/>
              <a:gd name="connsiteY1" fmla="*/ 0 h 1008000"/>
              <a:gd name="connsiteX2" fmla="*/ 2554159 w 2687973"/>
              <a:gd name="connsiteY2" fmla="*/ 511434 h 1008000"/>
              <a:gd name="connsiteX3" fmla="*/ 2687973 w 2687973"/>
              <a:gd name="connsiteY3" fmla="*/ 1008000 h 1008000"/>
              <a:gd name="connsiteX4" fmla="*/ 235768 w 2687973"/>
              <a:gd name="connsiteY4" fmla="*/ 1000566 h 1008000"/>
              <a:gd name="connsiteX5" fmla="*/ 0 w 2687973"/>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7973" h="1008000">
                <a:moveTo>
                  <a:pt x="0" y="0"/>
                </a:moveTo>
                <a:lnTo>
                  <a:pt x="2427777" y="0"/>
                </a:lnTo>
                <a:lnTo>
                  <a:pt x="2554159" y="511434"/>
                </a:lnTo>
                <a:lnTo>
                  <a:pt x="2687973" y="1008000"/>
                </a:lnTo>
                <a:lnTo>
                  <a:pt x="235768" y="1000566"/>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22" name="Textplatzhalter 15">
            <a:extLst>
              <a:ext uri="{FF2B5EF4-FFF2-40B4-BE49-F238E27FC236}">
                <a16:creationId xmlns:a16="http://schemas.microsoft.com/office/drawing/2014/main" id="{9F9EC2B2-9EBD-4CE2-BC2C-7AD96B5EDF5B}"/>
              </a:ext>
            </a:extLst>
          </p:cNvPr>
          <p:cNvSpPr txBox="1">
            <a:spLocks/>
          </p:cNvSpPr>
          <p:nvPr/>
        </p:nvSpPr>
        <p:spPr>
          <a:xfrm>
            <a:off x="3238401" y="1608864"/>
            <a:ext cx="2880694" cy="677048"/>
          </a:xfrm>
          <a:prstGeom prst="rect">
            <a:avLst/>
          </a:prstGeom>
          <a:noFill/>
        </p:spPr>
        <p:txBody>
          <a:bodyPr vert="horz" lIns="900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de-DE" b="1" i="0" u="none" strike="noStrike" kern="1200" cap="none" spc="0" normalizeH="0" baseline="0" noProof="0">
                <a:ln>
                  <a:noFill/>
                </a:ln>
                <a:solidFill>
                  <a:prstClr val="black"/>
                </a:solidFill>
                <a:effectLst/>
                <a:uLnTx/>
                <a:uFillTx/>
                <a:latin typeface="+mj-lt"/>
                <a:ea typeface="+mn-ea"/>
                <a:cs typeface="+mn-cs"/>
              </a:rPr>
              <a:t>Well-</a:t>
            </a:r>
            <a:r>
              <a:rPr kumimoji="0" lang="de-DE" b="1" i="0" u="none" strike="noStrike" kern="1200" cap="none" spc="0" normalizeH="0" baseline="0" noProof="0" err="1">
                <a:ln>
                  <a:noFill/>
                </a:ln>
                <a:solidFill>
                  <a:prstClr val="black"/>
                </a:solidFill>
                <a:effectLst/>
                <a:uLnTx/>
                <a:uFillTx/>
                <a:latin typeface="+mj-lt"/>
                <a:ea typeface="+mn-ea"/>
                <a:cs typeface="+mn-cs"/>
              </a:rPr>
              <a:t>to</a:t>
            </a:r>
            <a:r>
              <a:rPr kumimoji="0" lang="de-DE" b="1" i="0" u="none" strike="noStrike" kern="1200" cap="none" spc="0" normalizeH="0" baseline="0" noProof="0">
                <a:ln>
                  <a:noFill/>
                </a:ln>
                <a:solidFill>
                  <a:prstClr val="black"/>
                </a:solidFill>
                <a:effectLst/>
                <a:uLnTx/>
                <a:uFillTx/>
                <a:latin typeface="+mj-lt"/>
                <a:ea typeface="+mn-ea"/>
                <a:cs typeface="+mn-cs"/>
              </a:rPr>
              <a:t>-Wheel</a:t>
            </a:r>
          </a:p>
        </p:txBody>
      </p:sp>
      <p:sp>
        <p:nvSpPr>
          <p:cNvPr id="124" name="Rechteck 22">
            <a:extLst>
              <a:ext uri="{FF2B5EF4-FFF2-40B4-BE49-F238E27FC236}">
                <a16:creationId xmlns:a16="http://schemas.microsoft.com/office/drawing/2014/main" id="{91F37FE4-2426-494C-A735-F8C672227048}"/>
              </a:ext>
            </a:extLst>
          </p:cNvPr>
          <p:cNvSpPr/>
          <p:nvPr/>
        </p:nvSpPr>
        <p:spPr bwMode="auto">
          <a:xfrm>
            <a:off x="3352013" y="1616158"/>
            <a:ext cx="676184" cy="676184"/>
          </a:xfrm>
          <a:prstGeom prst="rect">
            <a:avLst/>
          </a:prstGeom>
          <a:solidFill>
            <a:srgbClr val="48996B"/>
          </a:solidFill>
          <a:ln w="12700" cap="flat" cmpd="sng" algn="ctr">
            <a:noFill/>
            <a:prstDash val="solid"/>
            <a:round/>
            <a:headEnd type="none" w="med" len="med"/>
            <a:tailEnd type="none" w="med" len="med"/>
          </a:ln>
          <a:effectLst/>
        </p:spPr>
        <p:txBody>
          <a:bodyPr vert="horz" wrap="square" lIns="36000" tIns="36000" rIns="0" bIns="3600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Delivery"/>
              <a:ea typeface="+mn-ea"/>
              <a:cs typeface="+mn-cs"/>
            </a:endParaRPr>
          </a:p>
        </p:txBody>
      </p:sp>
      <p:pic>
        <p:nvPicPr>
          <p:cNvPr id="125" name="Picture 30">
            <a:extLst>
              <a:ext uri="{FF2B5EF4-FFF2-40B4-BE49-F238E27FC236}">
                <a16:creationId xmlns:a16="http://schemas.microsoft.com/office/drawing/2014/main" id="{07DB7AB1-4728-4A34-84C2-53E0CCEF32D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541345" y="1610171"/>
            <a:ext cx="297521" cy="297521"/>
          </a:xfrm>
          <a:prstGeom prst="rect">
            <a:avLst/>
          </a:prstGeom>
        </p:spPr>
      </p:pic>
      <p:pic>
        <p:nvPicPr>
          <p:cNvPr id="126" name="Picture 97">
            <a:extLst>
              <a:ext uri="{FF2B5EF4-FFF2-40B4-BE49-F238E27FC236}">
                <a16:creationId xmlns:a16="http://schemas.microsoft.com/office/drawing/2014/main" id="{37604DF6-A3FD-4BDC-B7C8-4B94E64E7D72}"/>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569019" y="2013762"/>
            <a:ext cx="297521" cy="297521"/>
          </a:xfrm>
          <a:prstGeom prst="rect">
            <a:avLst/>
          </a:prstGeom>
        </p:spPr>
      </p:pic>
      <p:sp>
        <p:nvSpPr>
          <p:cNvPr id="127" name="Down Arrow 96">
            <a:extLst>
              <a:ext uri="{FF2B5EF4-FFF2-40B4-BE49-F238E27FC236}">
                <a16:creationId xmlns:a16="http://schemas.microsoft.com/office/drawing/2014/main" id="{DC38BC51-E091-4ABF-AC82-9EA41AC54ACD}"/>
              </a:ext>
            </a:extLst>
          </p:cNvPr>
          <p:cNvSpPr/>
          <p:nvPr/>
        </p:nvSpPr>
        <p:spPr>
          <a:xfrm>
            <a:off x="3652013" y="1914298"/>
            <a:ext cx="77101" cy="11900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Delivery"/>
              <a:ea typeface="+mn-ea"/>
              <a:cs typeface="+mn-cs"/>
            </a:endParaRPr>
          </a:p>
        </p:txBody>
      </p:sp>
      <p:sp>
        <p:nvSpPr>
          <p:cNvPr id="128" name="AutoShape 37">
            <a:extLst>
              <a:ext uri="{FF2B5EF4-FFF2-40B4-BE49-F238E27FC236}">
                <a16:creationId xmlns:a16="http://schemas.microsoft.com/office/drawing/2014/main" id="{0A434035-7F89-4237-B66C-260EBA8A79E5}"/>
              </a:ext>
            </a:extLst>
          </p:cNvPr>
          <p:cNvSpPr>
            <a:spLocks noChangeArrowheads="1"/>
          </p:cNvSpPr>
          <p:nvPr>
            <p:custDataLst>
              <p:tags r:id="rId7"/>
            </p:custDataLst>
          </p:nvPr>
        </p:nvSpPr>
        <p:spPr bwMode="gray">
          <a:xfrm>
            <a:off x="3179149" y="2501739"/>
            <a:ext cx="3095170" cy="1080000"/>
          </a:xfrm>
          <a:custGeom>
            <a:avLst/>
            <a:gdLst>
              <a:gd name="connsiteX0" fmla="*/ 0 w 2854884"/>
              <a:gd name="connsiteY0" fmla="*/ 0 h 1008000"/>
              <a:gd name="connsiteX1" fmla="*/ 2854884 w 2854884"/>
              <a:gd name="connsiteY1" fmla="*/ 0 h 1008000"/>
              <a:gd name="connsiteX2" fmla="*/ 2854884 w 2854884"/>
              <a:gd name="connsiteY2" fmla="*/ 504000 h 1008000"/>
              <a:gd name="connsiteX3" fmla="*/ 2854884 w 2854884"/>
              <a:gd name="connsiteY3" fmla="*/ 1008000 h 1008000"/>
              <a:gd name="connsiteX4" fmla="*/ 0 w 2854884"/>
              <a:gd name="connsiteY4" fmla="*/ 1008000 h 1008000"/>
              <a:gd name="connsiteX5" fmla="*/ 0 w 2854884"/>
              <a:gd name="connsiteY5" fmla="*/ 0 h 1008000"/>
              <a:gd name="connsiteX0" fmla="*/ 0 w 2854884"/>
              <a:gd name="connsiteY0" fmla="*/ 0 h 1008000"/>
              <a:gd name="connsiteX1" fmla="*/ 2743371 w 2854884"/>
              <a:gd name="connsiteY1" fmla="*/ 0 h 1008000"/>
              <a:gd name="connsiteX2" fmla="*/ 2854884 w 2854884"/>
              <a:gd name="connsiteY2" fmla="*/ 504000 h 1008000"/>
              <a:gd name="connsiteX3" fmla="*/ 2854884 w 2854884"/>
              <a:gd name="connsiteY3" fmla="*/ 1008000 h 1008000"/>
              <a:gd name="connsiteX4" fmla="*/ 0 w 2854884"/>
              <a:gd name="connsiteY4" fmla="*/ 1008000 h 1008000"/>
              <a:gd name="connsiteX5" fmla="*/ 0 w 2854884"/>
              <a:gd name="connsiteY5" fmla="*/ 0 h 1008000"/>
              <a:gd name="connsiteX0" fmla="*/ 0 w 2854884"/>
              <a:gd name="connsiteY0" fmla="*/ 0 h 1008000"/>
              <a:gd name="connsiteX1" fmla="*/ 2743371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 name="connsiteX0" fmla="*/ 0 w 2854884"/>
              <a:gd name="connsiteY0" fmla="*/ 0 h 1008000"/>
              <a:gd name="connsiteX1" fmla="*/ 2728503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 name="connsiteX0" fmla="*/ 0 w 2854884"/>
              <a:gd name="connsiteY0" fmla="*/ 0 h 1008000"/>
              <a:gd name="connsiteX1" fmla="*/ 2706200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884" h="1008000">
                <a:moveTo>
                  <a:pt x="0" y="0"/>
                </a:moveTo>
                <a:lnTo>
                  <a:pt x="2706200" y="0"/>
                </a:lnTo>
                <a:lnTo>
                  <a:pt x="2854884" y="504000"/>
                </a:lnTo>
                <a:lnTo>
                  <a:pt x="2721070" y="1000566"/>
                </a:lnTo>
                <a:lnTo>
                  <a:pt x="0" y="1008000"/>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29" name="AutoShape 37">
            <a:extLst>
              <a:ext uri="{FF2B5EF4-FFF2-40B4-BE49-F238E27FC236}">
                <a16:creationId xmlns:a16="http://schemas.microsoft.com/office/drawing/2014/main" id="{D8E31AFA-6774-445E-94F1-32F00A26D286}"/>
              </a:ext>
            </a:extLst>
          </p:cNvPr>
          <p:cNvSpPr>
            <a:spLocks noChangeArrowheads="1"/>
          </p:cNvSpPr>
          <p:nvPr>
            <p:custDataLst>
              <p:tags r:id="rId8"/>
            </p:custDataLst>
          </p:nvPr>
        </p:nvSpPr>
        <p:spPr bwMode="gray">
          <a:xfrm>
            <a:off x="2882462" y="3614595"/>
            <a:ext cx="3248519" cy="1044000"/>
          </a:xfrm>
          <a:custGeom>
            <a:avLst/>
            <a:gdLst>
              <a:gd name="connsiteX0" fmla="*/ 0 w 2699866"/>
              <a:gd name="connsiteY0" fmla="*/ 0 h 1044000"/>
              <a:gd name="connsiteX1" fmla="*/ 2699866 w 2699866"/>
              <a:gd name="connsiteY1" fmla="*/ 0 h 1044000"/>
              <a:gd name="connsiteX2" fmla="*/ 2699866 w 2699866"/>
              <a:gd name="connsiteY2" fmla="*/ 522000 h 1044000"/>
              <a:gd name="connsiteX3" fmla="*/ 2699866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699866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588354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573486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9866" h="1044000">
                <a:moveTo>
                  <a:pt x="0" y="0"/>
                </a:moveTo>
                <a:lnTo>
                  <a:pt x="2699866" y="0"/>
                </a:lnTo>
                <a:lnTo>
                  <a:pt x="2573486" y="522000"/>
                </a:lnTo>
                <a:lnTo>
                  <a:pt x="2439671" y="1044000"/>
                </a:lnTo>
                <a:lnTo>
                  <a:pt x="0" y="1044000"/>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30" name="Textplatzhalter 15">
            <a:extLst>
              <a:ext uri="{FF2B5EF4-FFF2-40B4-BE49-F238E27FC236}">
                <a16:creationId xmlns:a16="http://schemas.microsoft.com/office/drawing/2014/main" id="{CD368D34-C2EA-42FB-9CE9-1C37E1A14823}"/>
              </a:ext>
            </a:extLst>
          </p:cNvPr>
          <p:cNvSpPr txBox="1">
            <a:spLocks/>
          </p:cNvSpPr>
          <p:nvPr/>
        </p:nvSpPr>
        <p:spPr>
          <a:xfrm>
            <a:off x="3546495" y="2696350"/>
            <a:ext cx="2584486" cy="677048"/>
          </a:xfrm>
          <a:prstGeom prst="rect">
            <a:avLst/>
          </a:prstGeom>
          <a:noFill/>
        </p:spPr>
        <p:txBody>
          <a:bodyPr vert="horz" lIns="792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de-DE" b="1" i="0" u="none" strike="noStrike" kern="1200" cap="none" spc="0" normalizeH="0" baseline="0" noProof="0">
                <a:ln>
                  <a:noFill/>
                </a:ln>
                <a:solidFill>
                  <a:prstClr val="black"/>
                </a:solidFill>
                <a:effectLst/>
                <a:uLnTx/>
                <a:uFillTx/>
                <a:latin typeface="+mj-lt"/>
                <a:ea typeface="+mn-ea"/>
                <a:cs typeface="+mn-cs"/>
              </a:rPr>
              <a:t>Berücksichtigung aller Treibhausgase</a:t>
            </a:r>
          </a:p>
        </p:txBody>
      </p:sp>
      <p:sp>
        <p:nvSpPr>
          <p:cNvPr id="133" name="Rechteck 22">
            <a:extLst>
              <a:ext uri="{FF2B5EF4-FFF2-40B4-BE49-F238E27FC236}">
                <a16:creationId xmlns:a16="http://schemas.microsoft.com/office/drawing/2014/main" id="{48196B47-3858-4B2B-A356-8837E86774BA}"/>
              </a:ext>
            </a:extLst>
          </p:cNvPr>
          <p:cNvSpPr/>
          <p:nvPr/>
        </p:nvSpPr>
        <p:spPr bwMode="auto">
          <a:xfrm>
            <a:off x="3553168" y="2692792"/>
            <a:ext cx="676183" cy="676184"/>
          </a:xfrm>
          <a:prstGeom prst="rect">
            <a:avLst/>
          </a:prstGeom>
          <a:solidFill>
            <a:srgbClr val="48996B"/>
          </a:solidFill>
          <a:ln w="12700" cap="flat" cmpd="sng" algn="ctr">
            <a:noFill/>
            <a:prstDash val="solid"/>
            <a:round/>
            <a:headEnd type="none" w="med" len="med"/>
            <a:tailEnd type="none" w="med" len="med"/>
          </a:ln>
          <a:effectLst/>
        </p:spPr>
        <p:txBody>
          <a:bodyPr vert="horz" wrap="square" lIns="36000" tIns="36000" rIns="0" bIns="3600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Delivery"/>
              <a:ea typeface="+mn-ea"/>
              <a:cs typeface="+mn-cs"/>
            </a:endParaRPr>
          </a:p>
        </p:txBody>
      </p:sp>
      <p:sp>
        <p:nvSpPr>
          <p:cNvPr id="134" name="Freeform 5">
            <a:extLst>
              <a:ext uri="{FF2B5EF4-FFF2-40B4-BE49-F238E27FC236}">
                <a16:creationId xmlns:a16="http://schemas.microsoft.com/office/drawing/2014/main" id="{4E2961C9-7211-4E83-90C9-F139A6287454}"/>
              </a:ext>
            </a:extLst>
          </p:cNvPr>
          <p:cNvSpPr>
            <a:spLocks noEditPoints="1"/>
          </p:cNvSpPr>
          <p:nvPr/>
        </p:nvSpPr>
        <p:spPr bwMode="auto">
          <a:xfrm>
            <a:off x="3599942" y="3067839"/>
            <a:ext cx="279400" cy="279400"/>
          </a:xfrm>
          <a:custGeom>
            <a:avLst/>
            <a:gdLst/>
            <a:ahLst/>
            <a:cxnLst>
              <a:cxn ang="0">
                <a:pos x="0" y="192"/>
              </a:cxn>
              <a:cxn ang="0">
                <a:pos x="255" y="135"/>
              </a:cxn>
              <a:cxn ang="0">
                <a:pos x="277" y="122"/>
              </a:cxn>
              <a:cxn ang="0">
                <a:pos x="303" y="116"/>
              </a:cxn>
              <a:cxn ang="0">
                <a:pos x="296" y="105"/>
              </a:cxn>
              <a:cxn ang="0">
                <a:pos x="278" y="89"/>
              </a:cxn>
              <a:cxn ang="0">
                <a:pos x="265" y="90"/>
              </a:cxn>
              <a:cxn ang="0">
                <a:pos x="256" y="82"/>
              </a:cxn>
              <a:cxn ang="0">
                <a:pos x="231" y="73"/>
              </a:cxn>
              <a:cxn ang="0">
                <a:pos x="234" y="98"/>
              </a:cxn>
              <a:cxn ang="0">
                <a:pos x="224" y="118"/>
              </a:cxn>
              <a:cxn ang="0">
                <a:pos x="205" y="103"/>
              </a:cxn>
              <a:cxn ang="0">
                <a:pos x="175" y="89"/>
              </a:cxn>
              <a:cxn ang="0">
                <a:pos x="183" y="68"/>
              </a:cxn>
              <a:cxn ang="0">
                <a:pos x="212" y="58"/>
              </a:cxn>
              <a:cxn ang="0">
                <a:pos x="207" y="47"/>
              </a:cxn>
              <a:cxn ang="0">
                <a:pos x="188" y="50"/>
              </a:cxn>
              <a:cxn ang="0">
                <a:pos x="168" y="37"/>
              </a:cxn>
              <a:cxn ang="0">
                <a:pos x="171" y="52"/>
              </a:cxn>
              <a:cxn ang="0">
                <a:pos x="157" y="52"/>
              </a:cxn>
              <a:cxn ang="0">
                <a:pos x="141" y="40"/>
              </a:cxn>
              <a:cxn ang="0">
                <a:pos x="126" y="47"/>
              </a:cxn>
              <a:cxn ang="0">
                <a:pos x="143" y="51"/>
              </a:cxn>
              <a:cxn ang="0">
                <a:pos x="131" y="58"/>
              </a:cxn>
              <a:cxn ang="0">
                <a:pos x="56" y="107"/>
              </a:cxn>
              <a:cxn ang="0">
                <a:pos x="65" y="118"/>
              </a:cxn>
              <a:cxn ang="0">
                <a:pos x="79" y="135"/>
              </a:cxn>
              <a:cxn ang="0">
                <a:pos x="74" y="158"/>
              </a:cxn>
              <a:cxn ang="0">
                <a:pos x="88" y="185"/>
              </a:cxn>
              <a:cxn ang="0">
                <a:pos x="108" y="214"/>
              </a:cxn>
              <a:cxn ang="0">
                <a:pos x="118" y="227"/>
              </a:cxn>
              <a:cxn ang="0">
                <a:pos x="105" y="197"/>
              </a:cxn>
              <a:cxn ang="0">
                <a:pos x="125" y="225"/>
              </a:cxn>
              <a:cxn ang="0">
                <a:pos x="150" y="255"/>
              </a:cxn>
              <a:cxn ang="0">
                <a:pos x="184" y="269"/>
              </a:cxn>
              <a:cxn ang="0">
                <a:pos x="213" y="290"/>
              </a:cxn>
              <a:cxn ang="0">
                <a:pos x="224" y="288"/>
              </a:cxn>
              <a:cxn ang="0">
                <a:pos x="212" y="268"/>
              </a:cxn>
              <a:cxn ang="0">
                <a:pos x="197" y="262"/>
              </a:cxn>
              <a:cxn ang="0">
                <a:pos x="194" y="239"/>
              </a:cxn>
              <a:cxn ang="0">
                <a:pos x="171" y="250"/>
              </a:cxn>
              <a:cxn ang="0">
                <a:pos x="168" y="210"/>
              </a:cxn>
              <a:cxn ang="0">
                <a:pos x="184" y="206"/>
              </a:cxn>
              <a:cxn ang="0">
                <a:pos x="196" y="202"/>
              </a:cxn>
              <a:cxn ang="0">
                <a:pos x="214" y="211"/>
              </a:cxn>
              <a:cxn ang="0">
                <a:pos x="221" y="205"/>
              </a:cxn>
              <a:cxn ang="0">
                <a:pos x="234" y="179"/>
              </a:cxn>
              <a:cxn ang="0">
                <a:pos x="233" y="171"/>
              </a:cxn>
              <a:cxn ang="0">
                <a:pos x="252" y="157"/>
              </a:cxn>
              <a:cxn ang="0">
                <a:pos x="266" y="143"/>
              </a:cxn>
              <a:cxn ang="0">
                <a:pos x="273" y="131"/>
              </a:cxn>
              <a:cxn ang="0">
                <a:pos x="255" y="135"/>
              </a:cxn>
              <a:cxn ang="0">
                <a:pos x="295" y="298"/>
              </a:cxn>
              <a:cxn ang="0">
                <a:pos x="272" y="288"/>
              </a:cxn>
              <a:cxn ang="0">
                <a:pos x="251" y="288"/>
              </a:cxn>
              <a:cxn ang="0">
                <a:pos x="236" y="286"/>
              </a:cxn>
              <a:cxn ang="0">
                <a:pos x="230" y="307"/>
              </a:cxn>
              <a:cxn ang="0">
                <a:pos x="223" y="335"/>
              </a:cxn>
              <a:cxn ang="0">
                <a:pos x="308" y="302"/>
              </a:cxn>
            </a:cxnLst>
            <a:rect l="0" t="0" r="r" b="b"/>
            <a:pathLst>
              <a:path w="384" h="384">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255" y="135"/>
                </a:moveTo>
                <a:cubicBezTo>
                  <a:pt x="256" y="135"/>
                  <a:pt x="257" y="130"/>
                  <a:pt x="258" y="129"/>
                </a:cubicBezTo>
                <a:cubicBezTo>
                  <a:pt x="260" y="127"/>
                  <a:pt x="262" y="126"/>
                  <a:pt x="264" y="125"/>
                </a:cubicBezTo>
                <a:cubicBezTo>
                  <a:pt x="268" y="124"/>
                  <a:pt x="272" y="123"/>
                  <a:pt x="277" y="122"/>
                </a:cubicBezTo>
                <a:cubicBezTo>
                  <a:pt x="281" y="121"/>
                  <a:pt x="286" y="121"/>
                  <a:pt x="289" y="125"/>
                </a:cubicBezTo>
                <a:cubicBezTo>
                  <a:pt x="289" y="124"/>
                  <a:pt x="295" y="119"/>
                  <a:pt x="295" y="119"/>
                </a:cubicBezTo>
                <a:cubicBezTo>
                  <a:pt x="298" y="118"/>
                  <a:pt x="301" y="118"/>
                  <a:pt x="303" y="116"/>
                </a:cubicBezTo>
                <a:cubicBezTo>
                  <a:pt x="303" y="115"/>
                  <a:pt x="303" y="110"/>
                  <a:pt x="303" y="110"/>
                </a:cubicBezTo>
                <a:cubicBezTo>
                  <a:pt x="299" y="111"/>
                  <a:pt x="298" y="107"/>
                  <a:pt x="297" y="103"/>
                </a:cubicBezTo>
                <a:cubicBezTo>
                  <a:pt x="297" y="104"/>
                  <a:pt x="297" y="104"/>
                  <a:pt x="296" y="105"/>
                </a:cubicBezTo>
                <a:cubicBezTo>
                  <a:pt x="296" y="102"/>
                  <a:pt x="291" y="104"/>
                  <a:pt x="290" y="104"/>
                </a:cubicBezTo>
                <a:cubicBezTo>
                  <a:pt x="284" y="102"/>
                  <a:pt x="285" y="98"/>
                  <a:pt x="283" y="94"/>
                </a:cubicBezTo>
                <a:cubicBezTo>
                  <a:pt x="282" y="92"/>
                  <a:pt x="279" y="91"/>
                  <a:pt x="278" y="89"/>
                </a:cubicBezTo>
                <a:cubicBezTo>
                  <a:pt x="277" y="87"/>
                  <a:pt x="277" y="84"/>
                  <a:pt x="274" y="84"/>
                </a:cubicBezTo>
                <a:cubicBezTo>
                  <a:pt x="273" y="84"/>
                  <a:pt x="270" y="89"/>
                  <a:pt x="270" y="89"/>
                </a:cubicBezTo>
                <a:cubicBezTo>
                  <a:pt x="267" y="88"/>
                  <a:pt x="266" y="89"/>
                  <a:pt x="265" y="90"/>
                </a:cubicBezTo>
                <a:cubicBezTo>
                  <a:pt x="263" y="91"/>
                  <a:pt x="262" y="91"/>
                  <a:pt x="260" y="92"/>
                </a:cubicBezTo>
                <a:cubicBezTo>
                  <a:pt x="265" y="90"/>
                  <a:pt x="258" y="88"/>
                  <a:pt x="256" y="88"/>
                </a:cubicBezTo>
                <a:cubicBezTo>
                  <a:pt x="260" y="87"/>
                  <a:pt x="258" y="83"/>
                  <a:pt x="256" y="82"/>
                </a:cubicBezTo>
                <a:cubicBezTo>
                  <a:pt x="256" y="82"/>
                  <a:pt x="257" y="82"/>
                  <a:pt x="257" y="82"/>
                </a:cubicBezTo>
                <a:cubicBezTo>
                  <a:pt x="257" y="79"/>
                  <a:pt x="250" y="77"/>
                  <a:pt x="247" y="76"/>
                </a:cubicBezTo>
                <a:cubicBezTo>
                  <a:pt x="245" y="74"/>
                  <a:pt x="233" y="72"/>
                  <a:pt x="231" y="73"/>
                </a:cubicBezTo>
                <a:cubicBezTo>
                  <a:pt x="228" y="75"/>
                  <a:pt x="231" y="80"/>
                  <a:pt x="231" y="83"/>
                </a:cubicBezTo>
                <a:cubicBezTo>
                  <a:pt x="232" y="86"/>
                  <a:pt x="228" y="86"/>
                  <a:pt x="228" y="89"/>
                </a:cubicBezTo>
                <a:cubicBezTo>
                  <a:pt x="228" y="93"/>
                  <a:pt x="236" y="92"/>
                  <a:pt x="234" y="98"/>
                </a:cubicBezTo>
                <a:cubicBezTo>
                  <a:pt x="233" y="102"/>
                  <a:pt x="228" y="102"/>
                  <a:pt x="226" y="105"/>
                </a:cubicBezTo>
                <a:cubicBezTo>
                  <a:pt x="224" y="108"/>
                  <a:pt x="227" y="112"/>
                  <a:pt x="229" y="114"/>
                </a:cubicBezTo>
                <a:cubicBezTo>
                  <a:pt x="231" y="115"/>
                  <a:pt x="225" y="118"/>
                  <a:pt x="224" y="118"/>
                </a:cubicBezTo>
                <a:cubicBezTo>
                  <a:pt x="220" y="120"/>
                  <a:pt x="217" y="114"/>
                  <a:pt x="216" y="110"/>
                </a:cubicBezTo>
                <a:cubicBezTo>
                  <a:pt x="215" y="108"/>
                  <a:pt x="215" y="104"/>
                  <a:pt x="212" y="103"/>
                </a:cubicBezTo>
                <a:cubicBezTo>
                  <a:pt x="210" y="102"/>
                  <a:pt x="206" y="102"/>
                  <a:pt x="205" y="103"/>
                </a:cubicBezTo>
                <a:cubicBezTo>
                  <a:pt x="203" y="99"/>
                  <a:pt x="198" y="98"/>
                  <a:pt x="194" y="97"/>
                </a:cubicBezTo>
                <a:cubicBezTo>
                  <a:pt x="189" y="95"/>
                  <a:pt x="185" y="95"/>
                  <a:pt x="180" y="96"/>
                </a:cubicBezTo>
                <a:cubicBezTo>
                  <a:pt x="181" y="95"/>
                  <a:pt x="179" y="88"/>
                  <a:pt x="175" y="89"/>
                </a:cubicBezTo>
                <a:cubicBezTo>
                  <a:pt x="176" y="86"/>
                  <a:pt x="176" y="84"/>
                  <a:pt x="176" y="81"/>
                </a:cubicBezTo>
                <a:cubicBezTo>
                  <a:pt x="177" y="79"/>
                  <a:pt x="178" y="77"/>
                  <a:pt x="179" y="75"/>
                </a:cubicBezTo>
                <a:cubicBezTo>
                  <a:pt x="180" y="74"/>
                  <a:pt x="185" y="69"/>
                  <a:pt x="183" y="68"/>
                </a:cubicBezTo>
                <a:cubicBezTo>
                  <a:pt x="188" y="69"/>
                  <a:pt x="193" y="69"/>
                  <a:pt x="196" y="66"/>
                </a:cubicBezTo>
                <a:cubicBezTo>
                  <a:pt x="198" y="63"/>
                  <a:pt x="199" y="60"/>
                  <a:pt x="202" y="57"/>
                </a:cubicBezTo>
                <a:cubicBezTo>
                  <a:pt x="205" y="53"/>
                  <a:pt x="209" y="58"/>
                  <a:pt x="212" y="58"/>
                </a:cubicBezTo>
                <a:cubicBezTo>
                  <a:pt x="217" y="59"/>
                  <a:pt x="217" y="53"/>
                  <a:pt x="214" y="51"/>
                </a:cubicBezTo>
                <a:cubicBezTo>
                  <a:pt x="218" y="51"/>
                  <a:pt x="215" y="45"/>
                  <a:pt x="213" y="44"/>
                </a:cubicBezTo>
                <a:cubicBezTo>
                  <a:pt x="211" y="43"/>
                  <a:pt x="202" y="46"/>
                  <a:pt x="207" y="47"/>
                </a:cubicBezTo>
                <a:cubicBezTo>
                  <a:pt x="206" y="47"/>
                  <a:pt x="200" y="59"/>
                  <a:pt x="196" y="53"/>
                </a:cubicBezTo>
                <a:cubicBezTo>
                  <a:pt x="195" y="52"/>
                  <a:pt x="195" y="47"/>
                  <a:pt x="193" y="46"/>
                </a:cubicBezTo>
                <a:cubicBezTo>
                  <a:pt x="190" y="46"/>
                  <a:pt x="189" y="49"/>
                  <a:pt x="188" y="50"/>
                </a:cubicBezTo>
                <a:cubicBezTo>
                  <a:pt x="190" y="47"/>
                  <a:pt x="181" y="45"/>
                  <a:pt x="180" y="44"/>
                </a:cubicBezTo>
                <a:cubicBezTo>
                  <a:pt x="183" y="42"/>
                  <a:pt x="180" y="39"/>
                  <a:pt x="178" y="38"/>
                </a:cubicBezTo>
                <a:cubicBezTo>
                  <a:pt x="176" y="36"/>
                  <a:pt x="169" y="35"/>
                  <a:pt x="168" y="37"/>
                </a:cubicBezTo>
                <a:cubicBezTo>
                  <a:pt x="163" y="43"/>
                  <a:pt x="173" y="44"/>
                  <a:pt x="175" y="45"/>
                </a:cubicBezTo>
                <a:cubicBezTo>
                  <a:pt x="176" y="46"/>
                  <a:pt x="179" y="48"/>
                  <a:pt x="177" y="49"/>
                </a:cubicBezTo>
                <a:cubicBezTo>
                  <a:pt x="176" y="50"/>
                  <a:pt x="171" y="51"/>
                  <a:pt x="171" y="52"/>
                </a:cubicBezTo>
                <a:cubicBezTo>
                  <a:pt x="169" y="54"/>
                  <a:pt x="172" y="57"/>
                  <a:pt x="170" y="59"/>
                </a:cubicBezTo>
                <a:cubicBezTo>
                  <a:pt x="168" y="57"/>
                  <a:pt x="168" y="53"/>
                  <a:pt x="166" y="50"/>
                </a:cubicBezTo>
                <a:cubicBezTo>
                  <a:pt x="168" y="53"/>
                  <a:pt x="157" y="52"/>
                  <a:pt x="157" y="52"/>
                </a:cubicBezTo>
                <a:cubicBezTo>
                  <a:pt x="154" y="52"/>
                  <a:pt x="148" y="54"/>
                  <a:pt x="145" y="50"/>
                </a:cubicBezTo>
                <a:cubicBezTo>
                  <a:pt x="144" y="49"/>
                  <a:pt x="144" y="44"/>
                  <a:pt x="146" y="45"/>
                </a:cubicBezTo>
                <a:cubicBezTo>
                  <a:pt x="144" y="43"/>
                  <a:pt x="142" y="41"/>
                  <a:pt x="141" y="40"/>
                </a:cubicBezTo>
                <a:cubicBezTo>
                  <a:pt x="132" y="43"/>
                  <a:pt x="125" y="47"/>
                  <a:pt x="117" y="51"/>
                </a:cubicBezTo>
                <a:cubicBezTo>
                  <a:pt x="118" y="51"/>
                  <a:pt x="119" y="51"/>
                  <a:pt x="120" y="50"/>
                </a:cubicBezTo>
                <a:cubicBezTo>
                  <a:pt x="122" y="50"/>
                  <a:pt x="124" y="48"/>
                  <a:pt x="126" y="47"/>
                </a:cubicBezTo>
                <a:cubicBezTo>
                  <a:pt x="128" y="46"/>
                  <a:pt x="134" y="43"/>
                  <a:pt x="136" y="46"/>
                </a:cubicBezTo>
                <a:cubicBezTo>
                  <a:pt x="137" y="45"/>
                  <a:pt x="137" y="45"/>
                  <a:pt x="138" y="44"/>
                </a:cubicBezTo>
                <a:cubicBezTo>
                  <a:pt x="139" y="46"/>
                  <a:pt x="141" y="48"/>
                  <a:pt x="143" y="51"/>
                </a:cubicBezTo>
                <a:cubicBezTo>
                  <a:pt x="141" y="50"/>
                  <a:pt x="137" y="50"/>
                  <a:pt x="135" y="50"/>
                </a:cubicBezTo>
                <a:cubicBezTo>
                  <a:pt x="133" y="51"/>
                  <a:pt x="130" y="51"/>
                  <a:pt x="130" y="53"/>
                </a:cubicBezTo>
                <a:cubicBezTo>
                  <a:pt x="130" y="55"/>
                  <a:pt x="131" y="57"/>
                  <a:pt x="131" y="58"/>
                </a:cubicBezTo>
                <a:cubicBezTo>
                  <a:pt x="128" y="56"/>
                  <a:pt x="125" y="52"/>
                  <a:pt x="121" y="51"/>
                </a:cubicBezTo>
                <a:cubicBezTo>
                  <a:pt x="119" y="51"/>
                  <a:pt x="117" y="51"/>
                  <a:pt x="115" y="52"/>
                </a:cubicBezTo>
                <a:cubicBezTo>
                  <a:pt x="91" y="65"/>
                  <a:pt x="71" y="84"/>
                  <a:pt x="56" y="107"/>
                </a:cubicBezTo>
                <a:cubicBezTo>
                  <a:pt x="57" y="108"/>
                  <a:pt x="58" y="109"/>
                  <a:pt x="59" y="109"/>
                </a:cubicBezTo>
                <a:cubicBezTo>
                  <a:pt x="62" y="110"/>
                  <a:pt x="59" y="117"/>
                  <a:pt x="64" y="113"/>
                </a:cubicBezTo>
                <a:cubicBezTo>
                  <a:pt x="66" y="115"/>
                  <a:pt x="66" y="116"/>
                  <a:pt x="65" y="118"/>
                </a:cubicBezTo>
                <a:cubicBezTo>
                  <a:pt x="65" y="118"/>
                  <a:pt x="75" y="124"/>
                  <a:pt x="76" y="125"/>
                </a:cubicBezTo>
                <a:cubicBezTo>
                  <a:pt x="78" y="126"/>
                  <a:pt x="80" y="128"/>
                  <a:pt x="81" y="130"/>
                </a:cubicBezTo>
                <a:cubicBezTo>
                  <a:pt x="82" y="132"/>
                  <a:pt x="80" y="134"/>
                  <a:pt x="79" y="135"/>
                </a:cubicBezTo>
                <a:cubicBezTo>
                  <a:pt x="78" y="134"/>
                  <a:pt x="75" y="130"/>
                  <a:pt x="74" y="131"/>
                </a:cubicBezTo>
                <a:cubicBezTo>
                  <a:pt x="73" y="133"/>
                  <a:pt x="74" y="139"/>
                  <a:pt x="77" y="139"/>
                </a:cubicBezTo>
                <a:cubicBezTo>
                  <a:pt x="73" y="139"/>
                  <a:pt x="75" y="155"/>
                  <a:pt x="74" y="158"/>
                </a:cubicBezTo>
                <a:cubicBezTo>
                  <a:pt x="74" y="158"/>
                  <a:pt x="74" y="158"/>
                  <a:pt x="74" y="158"/>
                </a:cubicBezTo>
                <a:cubicBezTo>
                  <a:pt x="73" y="161"/>
                  <a:pt x="76" y="173"/>
                  <a:pt x="81" y="172"/>
                </a:cubicBezTo>
                <a:cubicBezTo>
                  <a:pt x="78" y="172"/>
                  <a:pt x="87" y="184"/>
                  <a:pt x="88" y="185"/>
                </a:cubicBezTo>
                <a:cubicBezTo>
                  <a:pt x="91" y="187"/>
                  <a:pt x="95" y="188"/>
                  <a:pt x="97" y="192"/>
                </a:cubicBezTo>
                <a:cubicBezTo>
                  <a:pt x="100" y="195"/>
                  <a:pt x="100" y="201"/>
                  <a:pt x="103" y="203"/>
                </a:cubicBezTo>
                <a:cubicBezTo>
                  <a:pt x="102" y="206"/>
                  <a:pt x="108" y="210"/>
                  <a:pt x="108" y="214"/>
                </a:cubicBezTo>
                <a:cubicBezTo>
                  <a:pt x="108" y="214"/>
                  <a:pt x="107" y="214"/>
                  <a:pt x="107" y="215"/>
                </a:cubicBezTo>
                <a:cubicBezTo>
                  <a:pt x="108" y="218"/>
                  <a:pt x="113" y="218"/>
                  <a:pt x="115" y="221"/>
                </a:cubicBezTo>
                <a:cubicBezTo>
                  <a:pt x="116" y="223"/>
                  <a:pt x="115" y="228"/>
                  <a:pt x="118" y="227"/>
                </a:cubicBezTo>
                <a:cubicBezTo>
                  <a:pt x="118" y="222"/>
                  <a:pt x="115" y="216"/>
                  <a:pt x="112" y="212"/>
                </a:cubicBezTo>
                <a:cubicBezTo>
                  <a:pt x="110" y="209"/>
                  <a:pt x="109" y="207"/>
                  <a:pt x="108" y="204"/>
                </a:cubicBezTo>
                <a:cubicBezTo>
                  <a:pt x="106" y="202"/>
                  <a:pt x="106" y="199"/>
                  <a:pt x="105" y="197"/>
                </a:cubicBezTo>
                <a:cubicBezTo>
                  <a:pt x="106" y="197"/>
                  <a:pt x="112" y="199"/>
                  <a:pt x="111" y="200"/>
                </a:cubicBezTo>
                <a:cubicBezTo>
                  <a:pt x="109" y="205"/>
                  <a:pt x="119" y="214"/>
                  <a:pt x="122" y="217"/>
                </a:cubicBezTo>
                <a:cubicBezTo>
                  <a:pt x="123" y="218"/>
                  <a:pt x="128" y="225"/>
                  <a:pt x="125" y="225"/>
                </a:cubicBezTo>
                <a:cubicBezTo>
                  <a:pt x="129" y="225"/>
                  <a:pt x="133" y="230"/>
                  <a:pt x="135" y="233"/>
                </a:cubicBezTo>
                <a:cubicBezTo>
                  <a:pt x="137" y="236"/>
                  <a:pt x="136" y="241"/>
                  <a:pt x="138" y="245"/>
                </a:cubicBezTo>
                <a:cubicBezTo>
                  <a:pt x="139" y="250"/>
                  <a:pt x="146" y="252"/>
                  <a:pt x="150" y="255"/>
                </a:cubicBezTo>
                <a:cubicBezTo>
                  <a:pt x="154" y="256"/>
                  <a:pt x="157" y="259"/>
                  <a:pt x="160" y="260"/>
                </a:cubicBezTo>
                <a:cubicBezTo>
                  <a:pt x="166" y="262"/>
                  <a:pt x="167" y="260"/>
                  <a:pt x="171" y="260"/>
                </a:cubicBezTo>
                <a:cubicBezTo>
                  <a:pt x="178" y="259"/>
                  <a:pt x="179" y="266"/>
                  <a:pt x="184" y="269"/>
                </a:cubicBezTo>
                <a:cubicBezTo>
                  <a:pt x="187" y="270"/>
                  <a:pt x="194" y="273"/>
                  <a:pt x="198" y="271"/>
                </a:cubicBezTo>
                <a:cubicBezTo>
                  <a:pt x="196" y="272"/>
                  <a:pt x="203" y="282"/>
                  <a:pt x="204" y="283"/>
                </a:cubicBezTo>
                <a:cubicBezTo>
                  <a:pt x="206" y="286"/>
                  <a:pt x="210" y="287"/>
                  <a:pt x="213" y="290"/>
                </a:cubicBezTo>
                <a:cubicBezTo>
                  <a:pt x="213" y="290"/>
                  <a:pt x="214" y="289"/>
                  <a:pt x="214" y="288"/>
                </a:cubicBezTo>
                <a:cubicBezTo>
                  <a:pt x="213" y="291"/>
                  <a:pt x="218" y="296"/>
                  <a:pt x="221" y="296"/>
                </a:cubicBezTo>
                <a:cubicBezTo>
                  <a:pt x="223" y="295"/>
                  <a:pt x="224" y="290"/>
                  <a:pt x="224" y="288"/>
                </a:cubicBezTo>
                <a:cubicBezTo>
                  <a:pt x="219" y="290"/>
                  <a:pt x="215" y="288"/>
                  <a:pt x="212" y="283"/>
                </a:cubicBezTo>
                <a:cubicBezTo>
                  <a:pt x="211" y="282"/>
                  <a:pt x="207" y="275"/>
                  <a:pt x="211" y="275"/>
                </a:cubicBezTo>
                <a:cubicBezTo>
                  <a:pt x="216" y="275"/>
                  <a:pt x="212" y="271"/>
                  <a:pt x="212" y="268"/>
                </a:cubicBezTo>
                <a:cubicBezTo>
                  <a:pt x="211" y="264"/>
                  <a:pt x="208" y="262"/>
                  <a:pt x="206" y="259"/>
                </a:cubicBezTo>
                <a:cubicBezTo>
                  <a:pt x="205" y="262"/>
                  <a:pt x="200" y="261"/>
                  <a:pt x="198" y="259"/>
                </a:cubicBezTo>
                <a:cubicBezTo>
                  <a:pt x="198" y="259"/>
                  <a:pt x="197" y="261"/>
                  <a:pt x="197" y="262"/>
                </a:cubicBezTo>
                <a:cubicBezTo>
                  <a:pt x="196" y="262"/>
                  <a:pt x="195" y="262"/>
                  <a:pt x="194" y="261"/>
                </a:cubicBezTo>
                <a:cubicBezTo>
                  <a:pt x="194" y="258"/>
                  <a:pt x="194" y="255"/>
                  <a:pt x="195" y="251"/>
                </a:cubicBezTo>
                <a:cubicBezTo>
                  <a:pt x="196" y="247"/>
                  <a:pt x="205" y="238"/>
                  <a:pt x="194" y="239"/>
                </a:cubicBezTo>
                <a:cubicBezTo>
                  <a:pt x="190" y="239"/>
                  <a:pt x="188" y="240"/>
                  <a:pt x="187" y="244"/>
                </a:cubicBezTo>
                <a:cubicBezTo>
                  <a:pt x="186" y="247"/>
                  <a:pt x="186" y="249"/>
                  <a:pt x="183" y="251"/>
                </a:cubicBezTo>
                <a:cubicBezTo>
                  <a:pt x="181" y="252"/>
                  <a:pt x="173" y="251"/>
                  <a:pt x="171" y="250"/>
                </a:cubicBezTo>
                <a:cubicBezTo>
                  <a:pt x="166" y="247"/>
                  <a:pt x="163" y="239"/>
                  <a:pt x="163" y="234"/>
                </a:cubicBezTo>
                <a:cubicBezTo>
                  <a:pt x="163" y="227"/>
                  <a:pt x="166" y="221"/>
                  <a:pt x="163" y="215"/>
                </a:cubicBezTo>
                <a:cubicBezTo>
                  <a:pt x="164" y="213"/>
                  <a:pt x="166" y="211"/>
                  <a:pt x="168" y="210"/>
                </a:cubicBezTo>
                <a:cubicBezTo>
                  <a:pt x="169" y="209"/>
                  <a:pt x="171" y="210"/>
                  <a:pt x="172" y="207"/>
                </a:cubicBezTo>
                <a:cubicBezTo>
                  <a:pt x="171" y="207"/>
                  <a:pt x="170" y="206"/>
                  <a:pt x="170" y="206"/>
                </a:cubicBezTo>
                <a:cubicBezTo>
                  <a:pt x="173" y="208"/>
                  <a:pt x="180" y="203"/>
                  <a:pt x="184" y="206"/>
                </a:cubicBezTo>
                <a:cubicBezTo>
                  <a:pt x="186" y="207"/>
                  <a:pt x="188" y="208"/>
                  <a:pt x="189" y="205"/>
                </a:cubicBezTo>
                <a:cubicBezTo>
                  <a:pt x="189" y="205"/>
                  <a:pt x="187" y="202"/>
                  <a:pt x="188" y="200"/>
                </a:cubicBezTo>
                <a:cubicBezTo>
                  <a:pt x="189" y="204"/>
                  <a:pt x="192" y="205"/>
                  <a:pt x="196" y="202"/>
                </a:cubicBezTo>
                <a:cubicBezTo>
                  <a:pt x="197" y="203"/>
                  <a:pt x="201" y="203"/>
                  <a:pt x="204" y="204"/>
                </a:cubicBezTo>
                <a:cubicBezTo>
                  <a:pt x="207" y="206"/>
                  <a:pt x="207" y="209"/>
                  <a:pt x="211" y="205"/>
                </a:cubicBezTo>
                <a:cubicBezTo>
                  <a:pt x="213" y="208"/>
                  <a:pt x="213" y="208"/>
                  <a:pt x="214" y="211"/>
                </a:cubicBezTo>
                <a:cubicBezTo>
                  <a:pt x="214" y="214"/>
                  <a:pt x="216" y="221"/>
                  <a:pt x="218" y="222"/>
                </a:cubicBezTo>
                <a:cubicBezTo>
                  <a:pt x="224" y="225"/>
                  <a:pt x="222" y="217"/>
                  <a:pt x="222" y="214"/>
                </a:cubicBezTo>
                <a:cubicBezTo>
                  <a:pt x="222" y="213"/>
                  <a:pt x="222" y="205"/>
                  <a:pt x="221" y="205"/>
                </a:cubicBezTo>
                <a:cubicBezTo>
                  <a:pt x="213" y="203"/>
                  <a:pt x="216" y="197"/>
                  <a:pt x="221" y="193"/>
                </a:cubicBezTo>
                <a:cubicBezTo>
                  <a:pt x="222" y="192"/>
                  <a:pt x="227" y="190"/>
                  <a:pt x="230" y="188"/>
                </a:cubicBezTo>
                <a:cubicBezTo>
                  <a:pt x="232" y="186"/>
                  <a:pt x="235" y="183"/>
                  <a:pt x="234" y="179"/>
                </a:cubicBezTo>
                <a:cubicBezTo>
                  <a:pt x="235" y="179"/>
                  <a:pt x="236" y="178"/>
                  <a:pt x="236" y="177"/>
                </a:cubicBezTo>
                <a:cubicBezTo>
                  <a:pt x="236" y="177"/>
                  <a:pt x="233" y="174"/>
                  <a:pt x="232" y="175"/>
                </a:cubicBezTo>
                <a:cubicBezTo>
                  <a:pt x="234" y="174"/>
                  <a:pt x="234" y="172"/>
                  <a:pt x="233" y="171"/>
                </a:cubicBezTo>
                <a:cubicBezTo>
                  <a:pt x="235" y="169"/>
                  <a:pt x="234" y="166"/>
                  <a:pt x="236" y="165"/>
                </a:cubicBezTo>
                <a:cubicBezTo>
                  <a:pt x="239" y="169"/>
                  <a:pt x="245" y="165"/>
                  <a:pt x="242" y="162"/>
                </a:cubicBezTo>
                <a:cubicBezTo>
                  <a:pt x="244" y="158"/>
                  <a:pt x="250" y="160"/>
                  <a:pt x="252" y="157"/>
                </a:cubicBezTo>
                <a:cubicBezTo>
                  <a:pt x="255" y="158"/>
                  <a:pt x="253" y="153"/>
                  <a:pt x="255" y="150"/>
                </a:cubicBezTo>
                <a:cubicBezTo>
                  <a:pt x="256" y="148"/>
                  <a:pt x="259" y="148"/>
                  <a:pt x="262" y="147"/>
                </a:cubicBezTo>
                <a:cubicBezTo>
                  <a:pt x="262" y="147"/>
                  <a:pt x="268" y="143"/>
                  <a:pt x="266" y="143"/>
                </a:cubicBezTo>
                <a:cubicBezTo>
                  <a:pt x="270" y="144"/>
                  <a:pt x="279" y="139"/>
                  <a:pt x="272" y="135"/>
                </a:cubicBezTo>
                <a:cubicBezTo>
                  <a:pt x="273" y="133"/>
                  <a:pt x="270" y="132"/>
                  <a:pt x="268" y="132"/>
                </a:cubicBezTo>
                <a:cubicBezTo>
                  <a:pt x="269" y="131"/>
                  <a:pt x="272" y="132"/>
                  <a:pt x="273" y="131"/>
                </a:cubicBezTo>
                <a:cubicBezTo>
                  <a:pt x="276" y="129"/>
                  <a:pt x="274" y="128"/>
                  <a:pt x="271" y="127"/>
                </a:cubicBezTo>
                <a:cubicBezTo>
                  <a:pt x="268" y="126"/>
                  <a:pt x="263" y="128"/>
                  <a:pt x="261" y="130"/>
                </a:cubicBezTo>
                <a:cubicBezTo>
                  <a:pt x="259" y="132"/>
                  <a:pt x="257" y="134"/>
                  <a:pt x="255" y="135"/>
                </a:cubicBezTo>
                <a:close/>
                <a:moveTo>
                  <a:pt x="308" y="302"/>
                </a:moveTo>
                <a:cubicBezTo>
                  <a:pt x="306" y="301"/>
                  <a:pt x="303" y="301"/>
                  <a:pt x="301" y="300"/>
                </a:cubicBezTo>
                <a:cubicBezTo>
                  <a:pt x="299" y="300"/>
                  <a:pt x="298" y="299"/>
                  <a:pt x="295" y="298"/>
                </a:cubicBezTo>
                <a:cubicBezTo>
                  <a:pt x="296" y="293"/>
                  <a:pt x="290" y="292"/>
                  <a:pt x="287" y="289"/>
                </a:cubicBezTo>
                <a:cubicBezTo>
                  <a:pt x="284" y="287"/>
                  <a:pt x="282" y="284"/>
                  <a:pt x="277" y="285"/>
                </a:cubicBezTo>
                <a:cubicBezTo>
                  <a:pt x="276" y="285"/>
                  <a:pt x="271" y="287"/>
                  <a:pt x="272" y="288"/>
                </a:cubicBezTo>
                <a:cubicBezTo>
                  <a:pt x="269" y="285"/>
                  <a:pt x="268" y="284"/>
                  <a:pt x="263" y="282"/>
                </a:cubicBezTo>
                <a:cubicBezTo>
                  <a:pt x="259" y="281"/>
                  <a:pt x="257" y="276"/>
                  <a:pt x="253" y="281"/>
                </a:cubicBezTo>
                <a:cubicBezTo>
                  <a:pt x="251" y="283"/>
                  <a:pt x="252" y="286"/>
                  <a:pt x="251" y="288"/>
                </a:cubicBezTo>
                <a:cubicBezTo>
                  <a:pt x="247" y="285"/>
                  <a:pt x="254" y="282"/>
                  <a:pt x="251" y="279"/>
                </a:cubicBezTo>
                <a:cubicBezTo>
                  <a:pt x="248" y="275"/>
                  <a:pt x="243" y="281"/>
                  <a:pt x="240" y="282"/>
                </a:cubicBezTo>
                <a:cubicBezTo>
                  <a:pt x="239" y="284"/>
                  <a:pt x="237" y="284"/>
                  <a:pt x="236" y="286"/>
                </a:cubicBezTo>
                <a:cubicBezTo>
                  <a:pt x="235" y="287"/>
                  <a:pt x="234" y="290"/>
                  <a:pt x="233" y="291"/>
                </a:cubicBezTo>
                <a:cubicBezTo>
                  <a:pt x="233" y="289"/>
                  <a:pt x="228" y="290"/>
                  <a:pt x="228" y="288"/>
                </a:cubicBezTo>
                <a:cubicBezTo>
                  <a:pt x="229" y="294"/>
                  <a:pt x="229" y="301"/>
                  <a:pt x="230" y="307"/>
                </a:cubicBezTo>
                <a:cubicBezTo>
                  <a:pt x="231" y="310"/>
                  <a:pt x="230" y="316"/>
                  <a:pt x="227" y="319"/>
                </a:cubicBezTo>
                <a:cubicBezTo>
                  <a:pt x="224" y="321"/>
                  <a:pt x="221" y="324"/>
                  <a:pt x="220" y="329"/>
                </a:cubicBezTo>
                <a:cubicBezTo>
                  <a:pt x="220" y="332"/>
                  <a:pt x="220" y="334"/>
                  <a:pt x="223" y="335"/>
                </a:cubicBezTo>
                <a:cubicBezTo>
                  <a:pt x="223" y="339"/>
                  <a:pt x="219" y="342"/>
                  <a:pt x="219" y="346"/>
                </a:cubicBezTo>
                <a:cubicBezTo>
                  <a:pt x="219" y="346"/>
                  <a:pt x="220" y="348"/>
                  <a:pt x="220" y="350"/>
                </a:cubicBezTo>
                <a:cubicBezTo>
                  <a:pt x="254" y="344"/>
                  <a:pt x="285" y="327"/>
                  <a:pt x="308" y="302"/>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Delivery"/>
              <a:ea typeface="+mn-ea"/>
              <a:cs typeface="+mn-cs"/>
            </a:endParaRPr>
          </a:p>
        </p:txBody>
      </p:sp>
      <p:sp>
        <p:nvSpPr>
          <p:cNvPr id="142" name="AutoShape 68">
            <a:extLst>
              <a:ext uri="{FF2B5EF4-FFF2-40B4-BE49-F238E27FC236}">
                <a16:creationId xmlns:a16="http://schemas.microsoft.com/office/drawing/2014/main" id="{9AF899E3-F6E3-4DA4-8D9C-A437AECA3663}"/>
              </a:ext>
            </a:extLst>
          </p:cNvPr>
          <p:cNvSpPr>
            <a:spLocks/>
          </p:cNvSpPr>
          <p:nvPr/>
        </p:nvSpPr>
        <p:spPr bwMode="auto">
          <a:xfrm>
            <a:off x="3566772" y="2731047"/>
            <a:ext cx="339769" cy="225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612" y="9346"/>
                </a:moveTo>
                <a:cubicBezTo>
                  <a:pt x="19507" y="9887"/>
                  <a:pt x="20229" y="10667"/>
                  <a:pt x="20776" y="11686"/>
                </a:cubicBezTo>
                <a:cubicBezTo>
                  <a:pt x="21324" y="12708"/>
                  <a:pt x="21599" y="13846"/>
                  <a:pt x="21599" y="15107"/>
                </a:cubicBezTo>
                <a:cubicBezTo>
                  <a:pt x="21599" y="16005"/>
                  <a:pt x="21458" y="16846"/>
                  <a:pt x="21172" y="17629"/>
                </a:cubicBezTo>
                <a:cubicBezTo>
                  <a:pt x="20889" y="18409"/>
                  <a:pt x="20503" y="19097"/>
                  <a:pt x="20008" y="19691"/>
                </a:cubicBezTo>
                <a:cubicBezTo>
                  <a:pt x="19512" y="20281"/>
                  <a:pt x="18940" y="20747"/>
                  <a:pt x="18290" y="21090"/>
                </a:cubicBezTo>
                <a:cubicBezTo>
                  <a:pt x="17640" y="21427"/>
                  <a:pt x="16939" y="21599"/>
                  <a:pt x="16187" y="21599"/>
                </a:cubicBezTo>
                <a:lnTo>
                  <a:pt x="4490" y="21599"/>
                </a:lnTo>
                <a:cubicBezTo>
                  <a:pt x="3878" y="21599"/>
                  <a:pt x="3297" y="21458"/>
                  <a:pt x="2750" y="21176"/>
                </a:cubicBezTo>
                <a:cubicBezTo>
                  <a:pt x="2203" y="20900"/>
                  <a:pt x="1723" y="20511"/>
                  <a:pt x="1312" y="20022"/>
                </a:cubicBezTo>
                <a:cubicBezTo>
                  <a:pt x="904" y="19527"/>
                  <a:pt x="583" y="18954"/>
                  <a:pt x="350" y="18294"/>
                </a:cubicBezTo>
                <a:cubicBezTo>
                  <a:pt x="115" y="17641"/>
                  <a:pt x="0" y="16947"/>
                  <a:pt x="0" y="16210"/>
                </a:cubicBezTo>
                <a:cubicBezTo>
                  <a:pt x="0" y="15565"/>
                  <a:pt x="88" y="14957"/>
                  <a:pt x="268" y="14381"/>
                </a:cubicBezTo>
                <a:cubicBezTo>
                  <a:pt x="448" y="13809"/>
                  <a:pt x="696" y="13287"/>
                  <a:pt x="1010" y="12818"/>
                </a:cubicBezTo>
                <a:cubicBezTo>
                  <a:pt x="1324" y="12351"/>
                  <a:pt x="1694" y="11954"/>
                  <a:pt x="2119" y="11632"/>
                </a:cubicBezTo>
                <a:cubicBezTo>
                  <a:pt x="2544" y="11312"/>
                  <a:pt x="3004" y="11079"/>
                  <a:pt x="3504" y="10929"/>
                </a:cubicBezTo>
                <a:cubicBezTo>
                  <a:pt x="3249" y="10552"/>
                  <a:pt x="3055" y="10140"/>
                  <a:pt x="2916" y="9688"/>
                </a:cubicBezTo>
                <a:cubicBezTo>
                  <a:pt x="2779" y="9239"/>
                  <a:pt x="2712" y="8758"/>
                  <a:pt x="2712" y="8240"/>
                </a:cubicBezTo>
                <a:cubicBezTo>
                  <a:pt x="2712" y="7635"/>
                  <a:pt x="2805" y="7071"/>
                  <a:pt x="2992" y="6547"/>
                </a:cubicBezTo>
                <a:cubicBezTo>
                  <a:pt x="3180" y="6023"/>
                  <a:pt x="3434" y="5568"/>
                  <a:pt x="3756" y="5182"/>
                </a:cubicBezTo>
                <a:cubicBezTo>
                  <a:pt x="4077" y="4796"/>
                  <a:pt x="4456" y="4488"/>
                  <a:pt x="4893" y="4264"/>
                </a:cubicBezTo>
                <a:cubicBezTo>
                  <a:pt x="5330" y="4039"/>
                  <a:pt x="5800" y="3927"/>
                  <a:pt x="6307" y="3927"/>
                </a:cubicBezTo>
                <a:cubicBezTo>
                  <a:pt x="7171" y="3927"/>
                  <a:pt x="7922" y="4258"/>
                  <a:pt x="8558" y="4920"/>
                </a:cubicBezTo>
                <a:cubicBezTo>
                  <a:pt x="8697" y="4223"/>
                  <a:pt x="8932" y="3573"/>
                  <a:pt x="9264" y="2971"/>
                </a:cubicBezTo>
                <a:cubicBezTo>
                  <a:pt x="9597" y="2369"/>
                  <a:pt x="9993" y="1848"/>
                  <a:pt x="10449" y="1404"/>
                </a:cubicBezTo>
                <a:cubicBezTo>
                  <a:pt x="10905" y="964"/>
                  <a:pt x="11412" y="621"/>
                  <a:pt x="11976" y="374"/>
                </a:cubicBezTo>
                <a:cubicBezTo>
                  <a:pt x="12540" y="123"/>
                  <a:pt x="13142" y="0"/>
                  <a:pt x="13785" y="0"/>
                </a:cubicBezTo>
                <a:cubicBezTo>
                  <a:pt x="14520" y="0"/>
                  <a:pt x="15218" y="169"/>
                  <a:pt x="15876" y="509"/>
                </a:cubicBezTo>
                <a:cubicBezTo>
                  <a:pt x="16536" y="852"/>
                  <a:pt x="17109" y="1312"/>
                  <a:pt x="17594" y="1894"/>
                </a:cubicBezTo>
                <a:cubicBezTo>
                  <a:pt x="18081" y="2476"/>
                  <a:pt x="18465" y="3167"/>
                  <a:pt x="18748" y="3956"/>
                </a:cubicBezTo>
                <a:cubicBezTo>
                  <a:pt x="19032" y="4744"/>
                  <a:pt x="19173" y="5580"/>
                  <a:pt x="19173" y="6463"/>
                </a:cubicBezTo>
                <a:cubicBezTo>
                  <a:pt x="19173" y="6987"/>
                  <a:pt x="19125" y="7491"/>
                  <a:pt x="19024" y="7972"/>
                </a:cubicBezTo>
                <a:cubicBezTo>
                  <a:pt x="18924" y="8453"/>
                  <a:pt x="18784" y="8914"/>
                  <a:pt x="18612" y="9346"/>
                </a:cubicBezTo>
              </a:path>
            </a:pathLst>
          </a:custGeom>
          <a:noFill/>
          <a:ln w="19050">
            <a:solidFill>
              <a:schemeClr val="tx1"/>
            </a:solidFill>
          </a:ln>
          <a:effectLst/>
        </p:spPr>
        <p:txBody>
          <a:bodyPr lIns="38100" tIns="38100" rIns="38100" bIns="38100" anchor="ctr"/>
          <a:lstStyle/>
          <a:p>
            <a:pPr marL="0" marR="0" lvl="0" indent="0" algn="l" defTabSz="342528" rtl="0" eaLnBrk="1" fontAlgn="auto" latinLnBrk="0" hangingPunct="1">
              <a:lnSpc>
                <a:spcPct val="100000"/>
              </a:lnSpc>
              <a:spcBef>
                <a:spcPts val="0"/>
              </a:spcBef>
              <a:spcAft>
                <a:spcPts val="0"/>
              </a:spcAft>
              <a:buClrTx/>
              <a:buSzTx/>
              <a:buFontTx/>
              <a:buNone/>
              <a:tabLst/>
              <a:defRPr/>
            </a:pPr>
            <a:endParaRPr kumimoji="0" lang="es-ES" sz="500" b="0" i="0" u="none" strike="noStrike" kern="1200" cap="none" spc="0" normalizeH="0" baseline="0" noProof="0">
              <a:ln>
                <a:noFill/>
              </a:ln>
              <a:solidFill>
                <a:prstClr val="black"/>
              </a:solidFill>
              <a:effectLst>
                <a:outerShdw blurRad="38100" dist="38100" dir="2700000" algn="tl">
                  <a:srgbClr val="000000"/>
                </a:outerShdw>
              </a:effectLst>
              <a:uLnTx/>
              <a:uFillTx/>
              <a:latin typeface="Gill Sans" charset="0"/>
              <a:ea typeface="+mn-ea"/>
              <a:cs typeface="Gill Sans" charset="0"/>
              <a:sym typeface="Gill Sans" charset="0"/>
            </a:endParaRPr>
          </a:p>
        </p:txBody>
      </p:sp>
      <p:sp>
        <p:nvSpPr>
          <p:cNvPr id="143" name="Textfeld 142">
            <a:extLst>
              <a:ext uri="{FF2B5EF4-FFF2-40B4-BE49-F238E27FC236}">
                <a16:creationId xmlns:a16="http://schemas.microsoft.com/office/drawing/2014/main" id="{6AA508F0-1817-4DEF-8826-B3EAC840B808}"/>
              </a:ext>
            </a:extLst>
          </p:cNvPr>
          <p:cNvSpPr txBox="1"/>
          <p:nvPr/>
        </p:nvSpPr>
        <p:spPr>
          <a:xfrm>
            <a:off x="3712187" y="2870203"/>
            <a:ext cx="176321" cy="117776"/>
          </a:xfrm>
          <a:prstGeom prst="rect">
            <a:avLst/>
          </a:prstGeom>
          <a:noFill/>
        </p:spPr>
        <p:txBody>
          <a:bodyPr wrap="squar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de-DE" sz="500" b="1" i="0" u="none" strike="noStrike" kern="1200" cap="none" spc="0" normalizeH="0" baseline="0" noProof="0">
                <a:ln>
                  <a:noFill/>
                </a:ln>
                <a:solidFill>
                  <a:prstClr val="black"/>
                </a:solidFill>
                <a:effectLst/>
                <a:uLnTx/>
                <a:uFillTx/>
                <a:latin typeface="Delivery"/>
                <a:ea typeface="+mn-ea"/>
                <a:cs typeface="+mn-cs"/>
              </a:rPr>
              <a:t>CO</a:t>
            </a:r>
            <a:r>
              <a:rPr kumimoji="0" lang="de-DE" sz="500" b="1" i="0" u="none" strike="noStrike" kern="1200" cap="none" spc="0" normalizeH="0" baseline="-25000" noProof="0">
                <a:ln>
                  <a:noFill/>
                </a:ln>
                <a:solidFill>
                  <a:prstClr val="black"/>
                </a:solidFill>
                <a:effectLst/>
                <a:uLnTx/>
                <a:uFillTx/>
                <a:latin typeface="Delivery"/>
                <a:ea typeface="+mn-ea"/>
                <a:cs typeface="+mn-cs"/>
              </a:rPr>
              <a:t>2</a:t>
            </a:r>
            <a:endParaRPr kumimoji="0" lang="de-DE" sz="500" b="1" i="0" u="none" strike="noStrike" kern="1200" cap="none" spc="0" normalizeH="0" baseline="0" noProof="0">
              <a:ln>
                <a:noFill/>
              </a:ln>
              <a:solidFill>
                <a:prstClr val="black"/>
              </a:solidFill>
              <a:effectLst/>
              <a:uLnTx/>
              <a:uFillTx/>
              <a:latin typeface="Delivery"/>
              <a:ea typeface="+mn-ea"/>
              <a:cs typeface="+mn-cs"/>
            </a:endParaRPr>
          </a:p>
        </p:txBody>
      </p:sp>
      <p:sp>
        <p:nvSpPr>
          <p:cNvPr id="144" name="Textfeld 143">
            <a:extLst>
              <a:ext uri="{FF2B5EF4-FFF2-40B4-BE49-F238E27FC236}">
                <a16:creationId xmlns:a16="http://schemas.microsoft.com/office/drawing/2014/main" id="{22E8C20D-63E9-4658-982E-2531787940DE}"/>
              </a:ext>
            </a:extLst>
          </p:cNvPr>
          <p:cNvSpPr txBox="1"/>
          <p:nvPr/>
        </p:nvSpPr>
        <p:spPr>
          <a:xfrm>
            <a:off x="3658135" y="2795318"/>
            <a:ext cx="193953" cy="129554"/>
          </a:xfrm>
          <a:prstGeom prst="rect">
            <a:avLst/>
          </a:prstGeom>
          <a:noFill/>
        </p:spPr>
        <p:txBody>
          <a:bodyPr wrap="squar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de-DE" sz="500" b="1" i="0" u="none" strike="noStrike" kern="1200" cap="none" spc="0" normalizeH="0" baseline="0" noProof="0">
                <a:ln>
                  <a:noFill/>
                </a:ln>
                <a:solidFill>
                  <a:prstClr val="black"/>
                </a:solidFill>
                <a:effectLst/>
                <a:uLnTx/>
                <a:uFillTx/>
                <a:latin typeface="Delivery"/>
                <a:ea typeface="+mn-ea"/>
                <a:cs typeface="+mn-cs"/>
              </a:rPr>
              <a:t>CH</a:t>
            </a:r>
            <a:r>
              <a:rPr kumimoji="0" lang="de-DE" sz="500" b="1" i="0" u="none" strike="noStrike" kern="1200" cap="none" spc="0" normalizeH="0" baseline="-25000" noProof="0">
                <a:ln>
                  <a:noFill/>
                </a:ln>
                <a:solidFill>
                  <a:prstClr val="black"/>
                </a:solidFill>
                <a:effectLst/>
                <a:uLnTx/>
                <a:uFillTx/>
                <a:latin typeface="Delivery"/>
                <a:ea typeface="+mn-ea"/>
                <a:cs typeface="+mn-cs"/>
              </a:rPr>
              <a:t>4</a:t>
            </a:r>
            <a:endParaRPr kumimoji="0" lang="de-DE" sz="500" b="1" i="0" u="none" strike="noStrike" kern="1200" cap="none" spc="0" normalizeH="0" baseline="0" noProof="0">
              <a:ln>
                <a:noFill/>
              </a:ln>
              <a:solidFill>
                <a:prstClr val="black"/>
              </a:solidFill>
              <a:effectLst/>
              <a:uLnTx/>
              <a:uFillTx/>
              <a:latin typeface="Delivery"/>
              <a:ea typeface="+mn-ea"/>
              <a:cs typeface="+mn-cs"/>
            </a:endParaRPr>
          </a:p>
        </p:txBody>
      </p:sp>
      <p:sp>
        <p:nvSpPr>
          <p:cNvPr id="145" name="Textfeld 144">
            <a:extLst>
              <a:ext uri="{FF2B5EF4-FFF2-40B4-BE49-F238E27FC236}">
                <a16:creationId xmlns:a16="http://schemas.microsoft.com/office/drawing/2014/main" id="{60871DDA-F12A-468E-99C8-71B7C1862E1D}"/>
              </a:ext>
            </a:extLst>
          </p:cNvPr>
          <p:cNvSpPr txBox="1"/>
          <p:nvPr/>
        </p:nvSpPr>
        <p:spPr>
          <a:xfrm>
            <a:off x="3753841" y="2746252"/>
            <a:ext cx="193953" cy="129554"/>
          </a:xfrm>
          <a:prstGeom prst="rect">
            <a:avLst/>
          </a:prstGeom>
          <a:noFill/>
        </p:spPr>
        <p:txBody>
          <a:bodyPr wrap="squar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de-DE" sz="500" b="1" i="0" u="none" strike="noStrike" kern="1200" cap="none" spc="0" normalizeH="0" baseline="0" noProof="0">
                <a:ln>
                  <a:noFill/>
                </a:ln>
                <a:solidFill>
                  <a:prstClr val="black"/>
                </a:solidFill>
                <a:effectLst/>
                <a:uLnTx/>
                <a:uFillTx/>
                <a:latin typeface="Delivery"/>
                <a:ea typeface="+mn-ea"/>
                <a:cs typeface="+mn-cs"/>
              </a:rPr>
              <a:t>N</a:t>
            </a:r>
            <a:r>
              <a:rPr kumimoji="0" lang="de-DE" sz="500" b="1" i="0" u="none" strike="noStrike" kern="1200" cap="none" spc="0" normalizeH="0" baseline="-25000" noProof="0">
                <a:ln>
                  <a:noFill/>
                </a:ln>
                <a:solidFill>
                  <a:prstClr val="black"/>
                </a:solidFill>
                <a:effectLst/>
                <a:uLnTx/>
                <a:uFillTx/>
                <a:latin typeface="Delivery"/>
                <a:ea typeface="+mn-ea"/>
                <a:cs typeface="+mn-cs"/>
              </a:rPr>
              <a:t>2</a:t>
            </a:r>
            <a:r>
              <a:rPr kumimoji="0" lang="de-DE" sz="500" b="1" i="0" u="none" strike="noStrike" kern="1200" cap="none" spc="0" normalizeH="0" baseline="0" noProof="0">
                <a:ln>
                  <a:noFill/>
                </a:ln>
                <a:solidFill>
                  <a:prstClr val="black"/>
                </a:solidFill>
                <a:effectLst/>
                <a:uLnTx/>
                <a:uFillTx/>
                <a:latin typeface="Delivery"/>
                <a:ea typeface="+mn-ea"/>
                <a:cs typeface="+mn-cs"/>
              </a:rPr>
              <a:t>O</a:t>
            </a:r>
          </a:p>
        </p:txBody>
      </p:sp>
      <p:sp>
        <p:nvSpPr>
          <p:cNvPr id="146" name="Down Arrow 96">
            <a:extLst>
              <a:ext uri="{FF2B5EF4-FFF2-40B4-BE49-F238E27FC236}">
                <a16:creationId xmlns:a16="http://schemas.microsoft.com/office/drawing/2014/main" id="{3873E87F-29CE-49E1-9933-F087ACA62B69}"/>
              </a:ext>
            </a:extLst>
          </p:cNvPr>
          <p:cNvSpPr/>
          <p:nvPr/>
        </p:nvSpPr>
        <p:spPr>
          <a:xfrm rot="10800000">
            <a:off x="3620094" y="2977235"/>
            <a:ext cx="52661" cy="70831"/>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Delivery"/>
              <a:ea typeface="+mn-ea"/>
              <a:cs typeface="+mn-cs"/>
            </a:endParaRPr>
          </a:p>
        </p:txBody>
      </p:sp>
      <p:sp>
        <p:nvSpPr>
          <p:cNvPr id="147" name="Down Arrow 96">
            <a:extLst>
              <a:ext uri="{FF2B5EF4-FFF2-40B4-BE49-F238E27FC236}">
                <a16:creationId xmlns:a16="http://schemas.microsoft.com/office/drawing/2014/main" id="{E80AFABB-4246-44FC-B9AD-D622ED065CBE}"/>
              </a:ext>
            </a:extLst>
          </p:cNvPr>
          <p:cNvSpPr/>
          <p:nvPr/>
        </p:nvSpPr>
        <p:spPr>
          <a:xfrm rot="10800000">
            <a:off x="3706396" y="2977235"/>
            <a:ext cx="52661" cy="70831"/>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Delivery"/>
              <a:ea typeface="+mn-ea"/>
              <a:cs typeface="+mn-cs"/>
            </a:endParaRPr>
          </a:p>
        </p:txBody>
      </p:sp>
      <p:sp>
        <p:nvSpPr>
          <p:cNvPr id="148" name="Down Arrow 96">
            <a:extLst>
              <a:ext uri="{FF2B5EF4-FFF2-40B4-BE49-F238E27FC236}">
                <a16:creationId xmlns:a16="http://schemas.microsoft.com/office/drawing/2014/main" id="{A14EFD7F-25DD-4766-9997-61F98904A448}"/>
              </a:ext>
            </a:extLst>
          </p:cNvPr>
          <p:cNvSpPr/>
          <p:nvPr/>
        </p:nvSpPr>
        <p:spPr>
          <a:xfrm rot="10800000">
            <a:off x="3792697" y="2977235"/>
            <a:ext cx="52661" cy="70831"/>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Delivery"/>
              <a:ea typeface="+mn-ea"/>
              <a:cs typeface="+mn-cs"/>
            </a:endParaRPr>
          </a:p>
        </p:txBody>
      </p:sp>
      <p:sp>
        <p:nvSpPr>
          <p:cNvPr id="149" name="Geschweifte Klammer rechts 148">
            <a:extLst>
              <a:ext uri="{FF2B5EF4-FFF2-40B4-BE49-F238E27FC236}">
                <a16:creationId xmlns:a16="http://schemas.microsoft.com/office/drawing/2014/main" id="{AA4C5662-43D2-43CB-98E7-812FE4A35575}"/>
              </a:ext>
            </a:extLst>
          </p:cNvPr>
          <p:cNvSpPr/>
          <p:nvPr/>
        </p:nvSpPr>
        <p:spPr>
          <a:xfrm>
            <a:off x="3933844" y="2795318"/>
            <a:ext cx="22897" cy="485646"/>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latin typeface="Delivery"/>
              <a:ea typeface="+mn-ea"/>
              <a:cs typeface="+mn-cs"/>
            </a:endParaRPr>
          </a:p>
        </p:txBody>
      </p:sp>
      <p:sp>
        <p:nvSpPr>
          <p:cNvPr id="150" name="Textfeld 149">
            <a:extLst>
              <a:ext uri="{FF2B5EF4-FFF2-40B4-BE49-F238E27FC236}">
                <a16:creationId xmlns:a16="http://schemas.microsoft.com/office/drawing/2014/main" id="{69D990D0-6E34-42EC-9EDB-39C9885315F5}"/>
              </a:ext>
            </a:extLst>
          </p:cNvPr>
          <p:cNvSpPr txBox="1"/>
          <p:nvPr/>
        </p:nvSpPr>
        <p:spPr>
          <a:xfrm>
            <a:off x="4035398" y="2989546"/>
            <a:ext cx="193953" cy="129554"/>
          </a:xfrm>
          <a:prstGeom prst="rect">
            <a:avLst/>
          </a:prstGeom>
          <a:noFill/>
        </p:spPr>
        <p:txBody>
          <a:bodyPr wrap="square" lIns="0" tIns="0" rIns="0" bIns="0" rtlCol="0">
            <a:noAutofit/>
          </a:bodyPr>
          <a:lstStyle/>
          <a:p>
            <a:pPr marL="0" marR="0" lvl="0" indent="0" algn="l" defTabSz="685800" rtl="0" eaLnBrk="1" fontAlgn="auto" latinLnBrk="0" hangingPunct="1">
              <a:lnSpc>
                <a:spcPct val="110000"/>
              </a:lnSpc>
              <a:spcBef>
                <a:spcPts val="0"/>
              </a:spcBef>
              <a:spcAft>
                <a:spcPts val="500"/>
              </a:spcAft>
              <a:buClrTx/>
              <a:buSzTx/>
              <a:buFontTx/>
              <a:buNone/>
              <a:tabLst/>
              <a:defRPr/>
            </a:pPr>
            <a:r>
              <a:rPr kumimoji="0" lang="de-DE" sz="600" b="1" i="0" u="none" strike="noStrike" kern="1200" cap="none" spc="0" normalizeH="0" baseline="0" noProof="0">
                <a:ln>
                  <a:noFill/>
                </a:ln>
                <a:solidFill>
                  <a:prstClr val="black"/>
                </a:solidFill>
                <a:effectLst/>
                <a:uLnTx/>
                <a:uFillTx/>
                <a:latin typeface="Delivery"/>
                <a:ea typeface="+mn-ea"/>
                <a:cs typeface="+mn-cs"/>
              </a:rPr>
              <a:t>CO</a:t>
            </a:r>
            <a:r>
              <a:rPr kumimoji="0" lang="de-DE" sz="600" b="1" i="0" u="none" strike="noStrike" kern="1200" cap="none" spc="0" normalizeH="0" baseline="-25000" noProof="0">
                <a:ln>
                  <a:noFill/>
                </a:ln>
                <a:solidFill>
                  <a:prstClr val="black"/>
                </a:solidFill>
                <a:effectLst/>
                <a:uLnTx/>
                <a:uFillTx/>
                <a:latin typeface="Delivery"/>
                <a:ea typeface="+mn-ea"/>
                <a:cs typeface="+mn-cs"/>
              </a:rPr>
              <a:t>2</a:t>
            </a:r>
            <a:r>
              <a:rPr kumimoji="0" lang="de-DE" sz="600" b="1" i="0" u="none" strike="noStrike" kern="1200" cap="none" spc="0" normalizeH="0" baseline="0" noProof="0">
                <a:ln>
                  <a:noFill/>
                </a:ln>
                <a:solidFill>
                  <a:prstClr val="black"/>
                </a:solidFill>
                <a:effectLst/>
                <a:uLnTx/>
                <a:uFillTx/>
                <a:latin typeface="Delivery"/>
                <a:ea typeface="+mn-ea"/>
                <a:cs typeface="+mn-cs"/>
              </a:rPr>
              <a:t>e</a:t>
            </a:r>
          </a:p>
        </p:txBody>
      </p:sp>
      <p:sp>
        <p:nvSpPr>
          <p:cNvPr id="151" name="Textfeld 150">
            <a:extLst>
              <a:ext uri="{FF2B5EF4-FFF2-40B4-BE49-F238E27FC236}">
                <a16:creationId xmlns:a16="http://schemas.microsoft.com/office/drawing/2014/main" id="{966B77DF-3472-4679-8D45-66AED819C7F3}"/>
              </a:ext>
            </a:extLst>
          </p:cNvPr>
          <p:cNvSpPr txBox="1"/>
          <p:nvPr/>
        </p:nvSpPr>
        <p:spPr>
          <a:xfrm>
            <a:off x="6613047" y="3390796"/>
            <a:ext cx="1986093" cy="276999"/>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de-DE" sz="1200" b="1" i="0" u="none" strike="noStrike" kern="1200" cap="none" spc="0" normalizeH="0" baseline="0" noProof="0">
                <a:ln>
                  <a:noFill/>
                </a:ln>
                <a:solidFill>
                  <a:prstClr val="black"/>
                </a:solidFill>
                <a:effectLst/>
                <a:uLnTx/>
                <a:uFillTx/>
                <a:latin typeface="+mj-lt"/>
                <a:ea typeface="+mn-ea"/>
                <a:cs typeface="+mn-cs"/>
              </a:rPr>
              <a:t>Externe Validierung</a:t>
            </a:r>
          </a:p>
        </p:txBody>
      </p:sp>
      <p:sp>
        <p:nvSpPr>
          <p:cNvPr id="153" name="AutoShape 56">
            <a:extLst>
              <a:ext uri="{FF2B5EF4-FFF2-40B4-BE49-F238E27FC236}">
                <a16:creationId xmlns:a16="http://schemas.microsoft.com/office/drawing/2014/main" id="{FD25DA8A-C277-4421-89AF-E4AD9B0947E8}"/>
              </a:ext>
            </a:extLst>
          </p:cNvPr>
          <p:cNvSpPr>
            <a:spLocks noChangeArrowheads="1"/>
          </p:cNvSpPr>
          <p:nvPr>
            <p:custDataLst>
              <p:tags r:id="rId9"/>
            </p:custDataLst>
          </p:nvPr>
        </p:nvSpPr>
        <p:spPr bwMode="gray">
          <a:xfrm>
            <a:off x="2574413" y="1423464"/>
            <a:ext cx="722463" cy="3267174"/>
          </a:xfrm>
          <a:prstGeom prst="homePlate">
            <a:avLst>
              <a:gd name="adj" fmla="val 49812"/>
            </a:avLst>
          </a:prstGeom>
          <a:gradFill rotWithShape="1">
            <a:gsLst>
              <a:gs pos="0">
                <a:schemeClr val="bg1"/>
              </a:gs>
              <a:gs pos="100000">
                <a:srgbClr val="006443"/>
              </a:gs>
            </a:gsLst>
            <a:lin ang="0" scaled="1"/>
          </a:gradFill>
          <a:ln>
            <a:noFill/>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54" name="AutoShape 59">
            <a:extLst>
              <a:ext uri="{FF2B5EF4-FFF2-40B4-BE49-F238E27FC236}">
                <a16:creationId xmlns:a16="http://schemas.microsoft.com/office/drawing/2014/main" id="{32D9CFCD-BD9D-4104-BD97-BAB8E0A7A176}"/>
              </a:ext>
            </a:extLst>
          </p:cNvPr>
          <p:cNvSpPr>
            <a:spLocks noChangeArrowheads="1"/>
          </p:cNvSpPr>
          <p:nvPr>
            <p:custDataLst>
              <p:tags r:id="rId10"/>
            </p:custDataLst>
          </p:nvPr>
        </p:nvSpPr>
        <p:spPr bwMode="gray">
          <a:xfrm>
            <a:off x="3044522" y="2783851"/>
            <a:ext cx="127117" cy="541858"/>
          </a:xfrm>
          <a:prstGeom prst="chevron">
            <a:avLst>
              <a:gd name="adj" fmla="val 46134"/>
            </a:avLst>
          </a:prstGeom>
          <a:solidFill>
            <a:srgbClr val="C0C0C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55" name="AutoShape 60">
            <a:extLst>
              <a:ext uri="{FF2B5EF4-FFF2-40B4-BE49-F238E27FC236}">
                <a16:creationId xmlns:a16="http://schemas.microsoft.com/office/drawing/2014/main" id="{4AB96F99-EBF0-4CC0-B6B0-50E7BD2BF366}"/>
              </a:ext>
            </a:extLst>
          </p:cNvPr>
          <p:cNvSpPr>
            <a:spLocks noChangeArrowheads="1"/>
          </p:cNvSpPr>
          <p:nvPr>
            <p:custDataLst>
              <p:tags r:id="rId11"/>
            </p:custDataLst>
          </p:nvPr>
        </p:nvSpPr>
        <p:spPr bwMode="gray">
          <a:xfrm>
            <a:off x="3133871" y="2783851"/>
            <a:ext cx="127117" cy="541858"/>
          </a:xfrm>
          <a:prstGeom prst="chevron">
            <a:avLst>
              <a:gd name="adj" fmla="val 46134"/>
            </a:avLst>
          </a:prstGeom>
          <a:solidFill>
            <a:srgbClr val="006443"/>
          </a:solidFill>
          <a:ln w="9525" algn="ctr">
            <a:solidFill>
              <a:srgbClr val="FFFFFF"/>
            </a:solidFill>
            <a:miter lim="800000"/>
            <a:headEnd/>
            <a:tailEnd/>
          </a:ln>
          <a:effectLst/>
        </p:spPr>
        <p:txBody>
          <a:bodyPr lIns="144000" tIns="144000" rIns="144000" bIns="14400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56" name="AutoShape 38">
            <a:extLst>
              <a:ext uri="{FF2B5EF4-FFF2-40B4-BE49-F238E27FC236}">
                <a16:creationId xmlns:a16="http://schemas.microsoft.com/office/drawing/2014/main" id="{E93C838A-1A90-4F96-A34D-CFF17D95CA6A}"/>
              </a:ext>
            </a:extLst>
          </p:cNvPr>
          <p:cNvSpPr>
            <a:spLocks noChangeArrowheads="1"/>
          </p:cNvSpPr>
          <p:nvPr>
            <p:custDataLst>
              <p:tags r:id="rId12"/>
            </p:custDataLst>
          </p:nvPr>
        </p:nvSpPr>
        <p:spPr bwMode="gray">
          <a:xfrm>
            <a:off x="329902" y="1438415"/>
            <a:ext cx="2744057" cy="3234936"/>
          </a:xfrm>
          <a:prstGeom prst="homePlate">
            <a:avLst>
              <a:gd name="adj" fmla="val 14447"/>
            </a:avLst>
          </a:prstGeom>
          <a:solidFill>
            <a:srgbClr val="E5E5E5"/>
          </a:solidFill>
          <a:ln w="1905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58" name="AutoShape 37">
            <a:extLst>
              <a:ext uri="{FF2B5EF4-FFF2-40B4-BE49-F238E27FC236}">
                <a16:creationId xmlns:a16="http://schemas.microsoft.com/office/drawing/2014/main" id="{81E6A0C7-7302-4145-8329-CFE597583F28}"/>
              </a:ext>
            </a:extLst>
          </p:cNvPr>
          <p:cNvSpPr>
            <a:spLocks noChangeArrowheads="1"/>
          </p:cNvSpPr>
          <p:nvPr>
            <p:custDataLst>
              <p:tags r:id="rId13"/>
            </p:custDataLst>
          </p:nvPr>
        </p:nvSpPr>
        <p:spPr bwMode="gray">
          <a:xfrm>
            <a:off x="350511" y="2501984"/>
            <a:ext cx="2723448" cy="1079755"/>
          </a:xfrm>
          <a:custGeom>
            <a:avLst/>
            <a:gdLst>
              <a:gd name="connsiteX0" fmla="*/ 0 w 2854884"/>
              <a:gd name="connsiteY0" fmla="*/ 0 h 1008000"/>
              <a:gd name="connsiteX1" fmla="*/ 2854884 w 2854884"/>
              <a:gd name="connsiteY1" fmla="*/ 0 h 1008000"/>
              <a:gd name="connsiteX2" fmla="*/ 2854884 w 2854884"/>
              <a:gd name="connsiteY2" fmla="*/ 504000 h 1008000"/>
              <a:gd name="connsiteX3" fmla="*/ 2854884 w 2854884"/>
              <a:gd name="connsiteY3" fmla="*/ 1008000 h 1008000"/>
              <a:gd name="connsiteX4" fmla="*/ 0 w 2854884"/>
              <a:gd name="connsiteY4" fmla="*/ 1008000 h 1008000"/>
              <a:gd name="connsiteX5" fmla="*/ 0 w 2854884"/>
              <a:gd name="connsiteY5" fmla="*/ 0 h 1008000"/>
              <a:gd name="connsiteX0" fmla="*/ 0 w 2854884"/>
              <a:gd name="connsiteY0" fmla="*/ 0 h 1008000"/>
              <a:gd name="connsiteX1" fmla="*/ 2743371 w 2854884"/>
              <a:gd name="connsiteY1" fmla="*/ 0 h 1008000"/>
              <a:gd name="connsiteX2" fmla="*/ 2854884 w 2854884"/>
              <a:gd name="connsiteY2" fmla="*/ 504000 h 1008000"/>
              <a:gd name="connsiteX3" fmla="*/ 2854884 w 2854884"/>
              <a:gd name="connsiteY3" fmla="*/ 1008000 h 1008000"/>
              <a:gd name="connsiteX4" fmla="*/ 0 w 2854884"/>
              <a:gd name="connsiteY4" fmla="*/ 1008000 h 1008000"/>
              <a:gd name="connsiteX5" fmla="*/ 0 w 2854884"/>
              <a:gd name="connsiteY5" fmla="*/ 0 h 1008000"/>
              <a:gd name="connsiteX0" fmla="*/ 0 w 2854884"/>
              <a:gd name="connsiteY0" fmla="*/ 0 h 1008000"/>
              <a:gd name="connsiteX1" fmla="*/ 2743371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 name="connsiteX0" fmla="*/ 0 w 2854884"/>
              <a:gd name="connsiteY0" fmla="*/ 0 h 1008000"/>
              <a:gd name="connsiteX1" fmla="*/ 2728503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 name="connsiteX0" fmla="*/ 0 w 2854884"/>
              <a:gd name="connsiteY0" fmla="*/ 0 h 1008000"/>
              <a:gd name="connsiteX1" fmla="*/ 2706200 w 2854884"/>
              <a:gd name="connsiteY1" fmla="*/ 0 h 1008000"/>
              <a:gd name="connsiteX2" fmla="*/ 2854884 w 2854884"/>
              <a:gd name="connsiteY2" fmla="*/ 504000 h 1008000"/>
              <a:gd name="connsiteX3" fmla="*/ 2721070 w 2854884"/>
              <a:gd name="connsiteY3" fmla="*/ 1000566 h 1008000"/>
              <a:gd name="connsiteX4" fmla="*/ 0 w 2854884"/>
              <a:gd name="connsiteY4" fmla="*/ 1008000 h 1008000"/>
              <a:gd name="connsiteX5" fmla="*/ 0 w 2854884"/>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884" h="1008000">
                <a:moveTo>
                  <a:pt x="0" y="0"/>
                </a:moveTo>
                <a:lnTo>
                  <a:pt x="2706200" y="0"/>
                </a:lnTo>
                <a:lnTo>
                  <a:pt x="2854884" y="504000"/>
                </a:lnTo>
                <a:lnTo>
                  <a:pt x="2721070" y="1000566"/>
                </a:lnTo>
                <a:lnTo>
                  <a:pt x="0" y="1008000"/>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59" name="Textplatzhalter 15">
            <a:extLst>
              <a:ext uri="{FF2B5EF4-FFF2-40B4-BE49-F238E27FC236}">
                <a16:creationId xmlns:a16="http://schemas.microsoft.com/office/drawing/2014/main" id="{C25C3510-C31E-4929-83B9-04BAD174C0C4}"/>
              </a:ext>
            </a:extLst>
          </p:cNvPr>
          <p:cNvSpPr txBox="1">
            <a:spLocks/>
          </p:cNvSpPr>
          <p:nvPr/>
        </p:nvSpPr>
        <p:spPr>
          <a:xfrm>
            <a:off x="479111" y="2701121"/>
            <a:ext cx="2402114" cy="677048"/>
          </a:xfrm>
          <a:prstGeom prst="rect">
            <a:avLst/>
          </a:prstGeom>
          <a:noFill/>
        </p:spPr>
        <p:txBody>
          <a:bodyPr vert="horz" lIns="1008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en-US" b="1" i="0" u="none" strike="noStrike" kern="1200" cap="none" spc="0" normalizeH="0" baseline="0" noProof="0">
                <a:ln>
                  <a:noFill/>
                </a:ln>
                <a:solidFill>
                  <a:prstClr val="black"/>
                </a:solidFill>
                <a:effectLst/>
                <a:uLnTx/>
                <a:uFillTx/>
                <a:latin typeface="+mj-lt"/>
                <a:ea typeface="+mn-ea"/>
                <a:cs typeface="+mn-cs"/>
              </a:rPr>
              <a:t>GLEC Standard</a:t>
            </a:r>
          </a:p>
        </p:txBody>
      </p:sp>
      <p:pic>
        <p:nvPicPr>
          <p:cNvPr id="160" name="Picture 77">
            <a:extLst>
              <a:ext uri="{FF2B5EF4-FFF2-40B4-BE49-F238E27FC236}">
                <a16:creationId xmlns:a16="http://schemas.microsoft.com/office/drawing/2014/main" id="{72F93435-15B2-4B32-ACD7-0F12587EFB4F}"/>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0192" y="2817088"/>
            <a:ext cx="900000" cy="405715"/>
          </a:xfrm>
          <a:prstGeom prst="rect">
            <a:avLst/>
          </a:prstGeom>
        </p:spPr>
      </p:pic>
      <p:sp>
        <p:nvSpPr>
          <p:cNvPr id="163" name="AutoShape 37">
            <a:extLst>
              <a:ext uri="{FF2B5EF4-FFF2-40B4-BE49-F238E27FC236}">
                <a16:creationId xmlns:a16="http://schemas.microsoft.com/office/drawing/2014/main" id="{EEF0B48D-E813-48A7-B17A-46CBBF91F181}"/>
              </a:ext>
            </a:extLst>
          </p:cNvPr>
          <p:cNvSpPr>
            <a:spLocks noChangeArrowheads="1"/>
          </p:cNvSpPr>
          <p:nvPr>
            <p:custDataLst>
              <p:tags r:id="rId14"/>
            </p:custDataLst>
          </p:nvPr>
        </p:nvSpPr>
        <p:spPr bwMode="gray">
          <a:xfrm>
            <a:off x="349265" y="3607161"/>
            <a:ext cx="2588829" cy="1044000"/>
          </a:xfrm>
          <a:custGeom>
            <a:avLst/>
            <a:gdLst>
              <a:gd name="connsiteX0" fmla="*/ 0 w 2699866"/>
              <a:gd name="connsiteY0" fmla="*/ 0 h 1044000"/>
              <a:gd name="connsiteX1" fmla="*/ 2699866 w 2699866"/>
              <a:gd name="connsiteY1" fmla="*/ 0 h 1044000"/>
              <a:gd name="connsiteX2" fmla="*/ 2699866 w 2699866"/>
              <a:gd name="connsiteY2" fmla="*/ 522000 h 1044000"/>
              <a:gd name="connsiteX3" fmla="*/ 2699866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699866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588354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 name="connsiteX0" fmla="*/ 0 w 2699866"/>
              <a:gd name="connsiteY0" fmla="*/ 0 h 1044000"/>
              <a:gd name="connsiteX1" fmla="*/ 2699866 w 2699866"/>
              <a:gd name="connsiteY1" fmla="*/ 0 h 1044000"/>
              <a:gd name="connsiteX2" fmla="*/ 2573486 w 2699866"/>
              <a:gd name="connsiteY2" fmla="*/ 522000 h 1044000"/>
              <a:gd name="connsiteX3" fmla="*/ 2439671 w 2699866"/>
              <a:gd name="connsiteY3" fmla="*/ 1044000 h 1044000"/>
              <a:gd name="connsiteX4" fmla="*/ 0 w 2699866"/>
              <a:gd name="connsiteY4" fmla="*/ 1044000 h 1044000"/>
              <a:gd name="connsiteX5" fmla="*/ 0 w 2699866"/>
              <a:gd name="connsiteY5"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9866" h="1044000">
                <a:moveTo>
                  <a:pt x="0" y="0"/>
                </a:moveTo>
                <a:lnTo>
                  <a:pt x="2699866" y="0"/>
                </a:lnTo>
                <a:lnTo>
                  <a:pt x="2573486" y="522000"/>
                </a:lnTo>
                <a:lnTo>
                  <a:pt x="2439671" y="1044000"/>
                </a:lnTo>
                <a:lnTo>
                  <a:pt x="0" y="1044000"/>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66" name="Textplatzhalter 15">
            <a:extLst>
              <a:ext uri="{FF2B5EF4-FFF2-40B4-BE49-F238E27FC236}">
                <a16:creationId xmlns:a16="http://schemas.microsoft.com/office/drawing/2014/main" id="{E887CDF7-2BF2-4705-846C-3001CD3582EC}"/>
              </a:ext>
            </a:extLst>
          </p:cNvPr>
          <p:cNvSpPr txBox="1">
            <a:spLocks/>
          </p:cNvSpPr>
          <p:nvPr/>
        </p:nvSpPr>
        <p:spPr>
          <a:xfrm>
            <a:off x="479111" y="3788663"/>
            <a:ext cx="2356383" cy="677048"/>
          </a:xfrm>
          <a:prstGeom prst="rect">
            <a:avLst/>
          </a:prstGeom>
          <a:noFill/>
        </p:spPr>
        <p:txBody>
          <a:bodyPr vert="horz" lIns="1008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en-US" b="1" i="0" u="none" strike="noStrike" kern="1200" cap="none" spc="0" normalizeH="0" baseline="0" noProof="0">
                <a:ln>
                  <a:noFill/>
                </a:ln>
                <a:solidFill>
                  <a:prstClr val="black"/>
                </a:solidFill>
                <a:effectLst/>
                <a:uLnTx/>
                <a:uFillTx/>
                <a:latin typeface="+mj-lt"/>
                <a:ea typeface="+mn-ea"/>
                <a:cs typeface="+mn-cs"/>
              </a:rPr>
              <a:t>ISO 14083</a:t>
            </a:r>
          </a:p>
        </p:txBody>
      </p:sp>
      <p:sp>
        <p:nvSpPr>
          <p:cNvPr id="168" name="AutoShape 37">
            <a:extLst>
              <a:ext uri="{FF2B5EF4-FFF2-40B4-BE49-F238E27FC236}">
                <a16:creationId xmlns:a16="http://schemas.microsoft.com/office/drawing/2014/main" id="{5B8EF430-A8EF-4C12-B77F-F621BF994659}"/>
              </a:ext>
            </a:extLst>
          </p:cNvPr>
          <p:cNvSpPr>
            <a:spLocks noChangeArrowheads="1"/>
          </p:cNvSpPr>
          <p:nvPr>
            <p:custDataLst>
              <p:tags r:id="rId15"/>
            </p:custDataLst>
          </p:nvPr>
        </p:nvSpPr>
        <p:spPr bwMode="gray">
          <a:xfrm>
            <a:off x="349505" y="1458874"/>
            <a:ext cx="2577297" cy="1008000"/>
          </a:xfrm>
          <a:custGeom>
            <a:avLst/>
            <a:gdLst>
              <a:gd name="connsiteX0" fmla="*/ 0 w 2687973"/>
              <a:gd name="connsiteY0" fmla="*/ 0 h 1008000"/>
              <a:gd name="connsiteX1" fmla="*/ 2687973 w 2687973"/>
              <a:gd name="connsiteY1" fmla="*/ 0 h 1008000"/>
              <a:gd name="connsiteX2" fmla="*/ 2687973 w 2687973"/>
              <a:gd name="connsiteY2" fmla="*/ 504000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12909 w 2687973"/>
              <a:gd name="connsiteY1" fmla="*/ 0 h 1008000"/>
              <a:gd name="connsiteX2" fmla="*/ 2687973 w 2687973"/>
              <a:gd name="connsiteY2" fmla="*/ 504000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12909 w 2687973"/>
              <a:gd name="connsiteY1" fmla="*/ 0 h 1008000"/>
              <a:gd name="connsiteX2" fmla="*/ 2554159 w 2687973"/>
              <a:gd name="connsiteY2" fmla="*/ 511434 h 1008000"/>
              <a:gd name="connsiteX3" fmla="*/ 2687973 w 2687973"/>
              <a:gd name="connsiteY3" fmla="*/ 1008000 h 1008000"/>
              <a:gd name="connsiteX4" fmla="*/ 0 w 2687973"/>
              <a:gd name="connsiteY4" fmla="*/ 1008000 h 1008000"/>
              <a:gd name="connsiteX5" fmla="*/ 0 w 2687973"/>
              <a:gd name="connsiteY5" fmla="*/ 0 h 1008000"/>
              <a:gd name="connsiteX0" fmla="*/ 0 w 2687973"/>
              <a:gd name="connsiteY0" fmla="*/ 0 h 1008000"/>
              <a:gd name="connsiteX1" fmla="*/ 2427777 w 2687973"/>
              <a:gd name="connsiteY1" fmla="*/ 0 h 1008000"/>
              <a:gd name="connsiteX2" fmla="*/ 2554159 w 2687973"/>
              <a:gd name="connsiteY2" fmla="*/ 511434 h 1008000"/>
              <a:gd name="connsiteX3" fmla="*/ 2687973 w 2687973"/>
              <a:gd name="connsiteY3" fmla="*/ 1008000 h 1008000"/>
              <a:gd name="connsiteX4" fmla="*/ 0 w 2687973"/>
              <a:gd name="connsiteY4" fmla="*/ 1008000 h 1008000"/>
              <a:gd name="connsiteX5" fmla="*/ 0 w 2687973"/>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7973" h="1008000">
                <a:moveTo>
                  <a:pt x="0" y="0"/>
                </a:moveTo>
                <a:lnTo>
                  <a:pt x="2427777" y="0"/>
                </a:lnTo>
                <a:lnTo>
                  <a:pt x="2554159" y="511434"/>
                </a:lnTo>
                <a:lnTo>
                  <a:pt x="2687973" y="1008000"/>
                </a:lnTo>
                <a:lnTo>
                  <a:pt x="0" y="1008000"/>
                </a:lnTo>
                <a:lnTo>
                  <a:pt x="0" y="0"/>
                </a:lnTo>
                <a:close/>
              </a:path>
            </a:pathLst>
          </a:custGeom>
          <a:solidFill>
            <a:schemeClr val="bg1">
              <a:alpha val="70000"/>
            </a:schemeClr>
          </a:solidFill>
          <a:ln w="19050" algn="ctr">
            <a:noFill/>
            <a:miter lim="800000"/>
            <a:headEnd/>
            <a:tailEnd/>
          </a:ln>
          <a:effectLst/>
        </p:spPr>
        <p:txBody>
          <a:bodyPr lIns="72000" tIns="36000" rIns="72000" bIns="36000" anchor="ctr"/>
          <a:lstStyle/>
          <a:p>
            <a:pPr marL="0" marR="0" lvl="0" indent="0" algn="l" defTabSz="99536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Delivery"/>
              <a:ea typeface="+mn-ea"/>
              <a:cs typeface="+mn-cs"/>
            </a:endParaRPr>
          </a:p>
        </p:txBody>
      </p:sp>
      <p:sp>
        <p:nvSpPr>
          <p:cNvPr id="169" name="Textplatzhalter 15">
            <a:extLst>
              <a:ext uri="{FF2B5EF4-FFF2-40B4-BE49-F238E27FC236}">
                <a16:creationId xmlns:a16="http://schemas.microsoft.com/office/drawing/2014/main" id="{6CFCE3FB-80D2-449C-B94D-DDBBFA697357}"/>
              </a:ext>
            </a:extLst>
          </p:cNvPr>
          <p:cNvSpPr txBox="1">
            <a:spLocks/>
          </p:cNvSpPr>
          <p:nvPr/>
        </p:nvSpPr>
        <p:spPr>
          <a:xfrm>
            <a:off x="479111" y="1608864"/>
            <a:ext cx="2538386" cy="677048"/>
          </a:xfrm>
          <a:prstGeom prst="rect">
            <a:avLst/>
          </a:prstGeom>
          <a:noFill/>
        </p:spPr>
        <p:txBody>
          <a:bodyPr vert="horz" lIns="1008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en-US" b="1" i="0" u="none" strike="noStrike" kern="1200" cap="none" spc="0" normalizeH="0" baseline="0" noProof="0">
                <a:ln>
                  <a:noFill/>
                </a:ln>
                <a:solidFill>
                  <a:prstClr val="black"/>
                </a:solidFill>
                <a:effectLst/>
                <a:uLnTx/>
                <a:uFillTx/>
                <a:latin typeface="+mj-lt"/>
                <a:ea typeface="+mn-ea"/>
                <a:cs typeface="+mn-cs"/>
              </a:rPr>
              <a:t>GHG Protocol</a:t>
            </a:r>
          </a:p>
        </p:txBody>
      </p:sp>
      <p:pic>
        <p:nvPicPr>
          <p:cNvPr id="171" name="Picture 78">
            <a:extLst>
              <a:ext uri="{FF2B5EF4-FFF2-40B4-BE49-F238E27FC236}">
                <a16:creationId xmlns:a16="http://schemas.microsoft.com/office/drawing/2014/main" id="{CE7CF958-5856-435F-9239-4040BD3CF658}"/>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17901" y="1758569"/>
            <a:ext cx="900000" cy="250314"/>
          </a:xfrm>
          <a:prstGeom prst="rect">
            <a:avLst/>
          </a:prstGeom>
        </p:spPr>
      </p:pic>
      <p:grpSp>
        <p:nvGrpSpPr>
          <p:cNvPr id="173" name="Gruppieren 172">
            <a:extLst>
              <a:ext uri="{FF2B5EF4-FFF2-40B4-BE49-F238E27FC236}">
                <a16:creationId xmlns:a16="http://schemas.microsoft.com/office/drawing/2014/main" id="{C84900D1-380B-44BF-A444-F52EDD93EFB2}"/>
              </a:ext>
            </a:extLst>
          </p:cNvPr>
          <p:cNvGrpSpPr>
            <a:grpSpLocks noChangeAspect="1"/>
          </p:cNvGrpSpPr>
          <p:nvPr/>
        </p:nvGrpSpPr>
        <p:grpSpPr>
          <a:xfrm>
            <a:off x="6632699" y="2275740"/>
            <a:ext cx="1912142" cy="834103"/>
            <a:chOff x="6235183" y="1676272"/>
            <a:chExt cx="880861" cy="384244"/>
          </a:xfrm>
        </p:grpSpPr>
        <p:pic>
          <p:nvPicPr>
            <p:cNvPr id="174" name="Picture 4" descr="We are delighted to share... - Humana People to People India | Facebook">
              <a:extLst>
                <a:ext uri="{FF2B5EF4-FFF2-40B4-BE49-F238E27FC236}">
                  <a16:creationId xmlns:a16="http://schemas.microsoft.com/office/drawing/2014/main" id="{191C8DB4-6EFE-4798-AE7B-06CFC9DFE679}"/>
                </a:ext>
              </a:extLst>
            </p:cNvPr>
            <p:cNvPicPr>
              <a:picLocks noChangeAspect="1" noChangeArrowheads="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l="2853" t="12089" r="33037" b="12089"/>
            <a:stretch/>
          </p:blipFill>
          <p:spPr bwMode="auto">
            <a:xfrm>
              <a:off x="6235183" y="1676272"/>
              <a:ext cx="856976" cy="384244"/>
            </a:xfrm>
            <a:prstGeom prst="rect">
              <a:avLst/>
            </a:prstGeom>
            <a:noFill/>
            <a:extLst>
              <a:ext uri="{909E8E84-426E-40DD-AFC4-6F175D3DCCD1}">
                <a14:hiddenFill xmlns:a14="http://schemas.microsoft.com/office/drawing/2010/main">
                  <a:solidFill>
                    <a:srgbClr val="FFFFFF"/>
                  </a:solidFill>
                </a14:hiddenFill>
              </a:ext>
            </a:extLst>
          </p:spPr>
        </p:pic>
        <p:sp>
          <p:nvSpPr>
            <p:cNvPr id="175" name="Rechteck 174">
              <a:extLst>
                <a:ext uri="{FF2B5EF4-FFF2-40B4-BE49-F238E27FC236}">
                  <a16:creationId xmlns:a16="http://schemas.microsoft.com/office/drawing/2014/main" id="{227F409D-5A9C-432F-AC8B-74EAC215CA10}"/>
                </a:ext>
              </a:extLst>
            </p:cNvPr>
            <p:cNvSpPr/>
            <p:nvPr/>
          </p:nvSpPr>
          <p:spPr>
            <a:xfrm>
              <a:off x="6674283" y="1761298"/>
              <a:ext cx="441761" cy="28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grpSp>
      <p:sp>
        <p:nvSpPr>
          <p:cNvPr id="176" name="Rechteck 175">
            <a:extLst>
              <a:ext uri="{FF2B5EF4-FFF2-40B4-BE49-F238E27FC236}">
                <a16:creationId xmlns:a16="http://schemas.microsoft.com/office/drawing/2014/main" id="{E10E48AA-BBEA-4F93-86B5-F4A05F982EA9}"/>
              </a:ext>
            </a:extLst>
          </p:cNvPr>
          <p:cNvSpPr/>
          <p:nvPr/>
        </p:nvSpPr>
        <p:spPr>
          <a:xfrm>
            <a:off x="323999" y="888072"/>
            <a:ext cx="2357786" cy="534368"/>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bIns="36000" rtlCol="0" anchor="ctr">
            <a:noAutofit/>
          </a:bodyPr>
          <a:lstStyle/>
          <a:p>
            <a:r>
              <a:rPr lang="de-DE" sz="1200" b="1">
                <a:solidFill>
                  <a:schemeClr val="bg1"/>
                </a:solidFill>
                <a:latin typeface="+mj-lt"/>
                <a:cs typeface="Delivery Arabic Light" panose="020F0403020204020204" pitchFamily="34" charset="-78"/>
              </a:rPr>
              <a:t>Berechnung nach international anerkannten Carbon Accounting Standards </a:t>
            </a:r>
          </a:p>
        </p:txBody>
      </p:sp>
      <p:sp>
        <p:nvSpPr>
          <p:cNvPr id="177" name="Rechteck 176">
            <a:extLst>
              <a:ext uri="{FF2B5EF4-FFF2-40B4-BE49-F238E27FC236}">
                <a16:creationId xmlns:a16="http://schemas.microsoft.com/office/drawing/2014/main" id="{145E3277-113D-47AA-B76B-4494AAF436A1}"/>
              </a:ext>
            </a:extLst>
          </p:cNvPr>
          <p:cNvSpPr/>
          <p:nvPr/>
        </p:nvSpPr>
        <p:spPr>
          <a:xfrm>
            <a:off x="2938094" y="888072"/>
            <a:ext cx="2882354" cy="534368"/>
          </a:xfrm>
          <a:prstGeom prst="rect">
            <a:avLst/>
          </a:prstGeom>
          <a:solidFill>
            <a:srgbClr val="0064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bIns="36000" rtlCol="0" anchor="ctr">
            <a:noAutofit/>
          </a:bodyPr>
          <a:lstStyle/>
          <a:p>
            <a:r>
              <a:rPr lang="de-DE" sz="1200" b="1">
                <a:solidFill>
                  <a:schemeClr val="bg1"/>
                </a:solidFill>
                <a:latin typeface="+mj-lt"/>
                <a:cs typeface="Delivery Arabic Light" panose="020F0403020204020204" pitchFamily="34" charset="-78"/>
              </a:rPr>
              <a:t>Entlang der gesamten Lieferkette unter Berücksichtigung aller Treibhausgase </a:t>
            </a:r>
          </a:p>
        </p:txBody>
      </p:sp>
      <p:sp>
        <p:nvSpPr>
          <p:cNvPr id="178" name="Textplatzhalter 15">
            <a:extLst>
              <a:ext uri="{FF2B5EF4-FFF2-40B4-BE49-F238E27FC236}">
                <a16:creationId xmlns:a16="http://schemas.microsoft.com/office/drawing/2014/main" id="{FAF2B9FF-AD5E-4D42-A534-3D96DD32B0B9}"/>
              </a:ext>
            </a:extLst>
          </p:cNvPr>
          <p:cNvSpPr txBox="1">
            <a:spLocks/>
          </p:cNvSpPr>
          <p:nvPr/>
        </p:nvSpPr>
        <p:spPr>
          <a:xfrm>
            <a:off x="3029941" y="3792996"/>
            <a:ext cx="3019027" cy="677048"/>
          </a:xfrm>
          <a:prstGeom prst="rect">
            <a:avLst/>
          </a:prstGeom>
          <a:noFill/>
        </p:spPr>
        <p:txBody>
          <a:bodyPr vert="horz" lIns="900000" tIns="36000" rIns="36000" bIns="36576" rtlCol="0" anchor="ctr">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lnSpc>
                <a:spcPct val="100000"/>
              </a:lnSpc>
              <a:spcBef>
                <a:spcPts val="0"/>
              </a:spcBef>
              <a:spcAft>
                <a:spcPts val="200"/>
              </a:spcAft>
              <a:buClr>
                <a:srgbClr val="D40511"/>
              </a:buClr>
              <a:buSzTx/>
              <a:buFont typeface="Arial" panose="020B0604020202020204" pitchFamily="34" charset="0"/>
              <a:buNone/>
              <a:tabLst/>
              <a:defRPr/>
            </a:pPr>
            <a:r>
              <a:rPr kumimoji="0" lang="de-DE" b="1" i="0" u="none" strike="noStrike" kern="1200" cap="none" spc="0" normalizeH="0" baseline="0" noProof="0">
                <a:ln>
                  <a:noFill/>
                </a:ln>
                <a:solidFill>
                  <a:prstClr val="black"/>
                </a:solidFill>
                <a:effectLst/>
                <a:uLnTx/>
                <a:uFillTx/>
                <a:latin typeface="+mj-lt"/>
                <a:ea typeface="+mn-ea"/>
                <a:cs typeface="+mn-cs"/>
              </a:rPr>
              <a:t>Differenzierung nach Scopes</a:t>
            </a:r>
          </a:p>
        </p:txBody>
      </p:sp>
      <p:sp>
        <p:nvSpPr>
          <p:cNvPr id="179" name="Rechteck 22">
            <a:extLst>
              <a:ext uri="{FF2B5EF4-FFF2-40B4-BE49-F238E27FC236}">
                <a16:creationId xmlns:a16="http://schemas.microsoft.com/office/drawing/2014/main" id="{E98080A3-AD92-416D-9957-906EEEA216BB}"/>
              </a:ext>
            </a:extLst>
          </p:cNvPr>
          <p:cNvSpPr/>
          <p:nvPr/>
        </p:nvSpPr>
        <p:spPr bwMode="auto">
          <a:xfrm>
            <a:off x="3149593" y="3821148"/>
            <a:ext cx="676184" cy="676184"/>
          </a:xfrm>
          <a:prstGeom prst="rect">
            <a:avLst/>
          </a:prstGeom>
          <a:solidFill>
            <a:srgbClr val="48996B"/>
          </a:solidFill>
          <a:ln w="12700" cap="flat" cmpd="sng" algn="ctr">
            <a:noFill/>
            <a:prstDash val="solid"/>
            <a:round/>
            <a:headEnd type="none" w="med" len="med"/>
            <a:tailEnd type="none" w="med" len="med"/>
          </a:ln>
          <a:effectLst/>
        </p:spPr>
        <p:txBody>
          <a:bodyPr vert="horz" wrap="square" lIns="36000" tIns="36000" rIns="0" bIns="3600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Delivery"/>
              <a:ea typeface="+mn-ea"/>
              <a:cs typeface="+mn-cs"/>
            </a:endParaRPr>
          </a:p>
        </p:txBody>
      </p:sp>
      <p:pic>
        <p:nvPicPr>
          <p:cNvPr id="180" name="Picture 99">
            <a:extLst>
              <a:ext uri="{FF2B5EF4-FFF2-40B4-BE49-F238E27FC236}">
                <a16:creationId xmlns:a16="http://schemas.microsoft.com/office/drawing/2014/main" id="{11343571-8BFE-4189-904D-2BC9737197BD}"/>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217212" y="3888767"/>
            <a:ext cx="540946" cy="540946"/>
          </a:xfrm>
          <a:prstGeom prst="rect">
            <a:avLst/>
          </a:prstGeom>
          <a:solidFill>
            <a:srgbClr val="48996B"/>
          </a:solidFill>
        </p:spPr>
      </p:pic>
      <p:sp>
        <p:nvSpPr>
          <p:cNvPr id="3" name="Fußzeilenplatzhalter 14">
            <a:extLst>
              <a:ext uri="{FF2B5EF4-FFF2-40B4-BE49-F238E27FC236}">
                <a16:creationId xmlns:a16="http://schemas.microsoft.com/office/drawing/2014/main" id="{AAA75A27-BFC5-CA1D-3B9D-F81059FD57E7}"/>
              </a:ext>
            </a:extLst>
          </p:cNvPr>
          <p:cNvSpPr>
            <a:spLocks noGrp="1"/>
          </p:cNvSpPr>
          <p:nvPr>
            <p:ph type="ftr" sz="quarter" idx="10"/>
          </p:nvPr>
        </p:nvSpPr>
        <p:spPr>
          <a:xfrm>
            <a:off x="323999" y="4803982"/>
            <a:ext cx="8117532" cy="13849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Delivery"/>
                <a:ea typeface="+mn-ea"/>
                <a:cs typeface="+mn-cs"/>
              </a:rPr>
              <a:t>Sustainability Summit | Hamburg | 26. </a:t>
            </a:r>
            <a:r>
              <a:rPr kumimoji="0" lang="en-US" sz="900" b="0" i="0" u="none" strike="noStrike" kern="1200" cap="none" spc="0" normalizeH="0" baseline="0" noProof="0" err="1">
                <a:ln>
                  <a:noFill/>
                </a:ln>
                <a:solidFill>
                  <a:prstClr val="black"/>
                </a:solidFill>
                <a:effectLst/>
                <a:uLnTx/>
                <a:uFillTx/>
                <a:latin typeface="Delivery"/>
                <a:ea typeface="+mn-ea"/>
                <a:cs typeface="+mn-cs"/>
              </a:rPr>
              <a:t>Juni</a:t>
            </a:r>
            <a:r>
              <a:rPr kumimoji="0" lang="en-US" sz="900" b="0" i="0" u="none" strike="noStrike" kern="1200" cap="none" spc="0" normalizeH="0" baseline="0" noProof="0">
                <a:ln>
                  <a:noFill/>
                </a:ln>
                <a:solidFill>
                  <a:prstClr val="black"/>
                </a:solidFill>
                <a:effectLst/>
                <a:uLnTx/>
                <a:uFillTx/>
                <a:latin typeface="Delivery"/>
                <a:ea typeface="+mn-ea"/>
                <a:cs typeface="+mn-cs"/>
              </a:rPr>
              <a:t> 2025</a:t>
            </a:r>
          </a:p>
        </p:txBody>
      </p:sp>
      <p:pic>
        <p:nvPicPr>
          <p:cNvPr id="5" name="Grafik 4" descr="Ein Bild, das Schrift, Grafiken, Logo, Text enthält.&#10;&#10;Automatisch generierte Beschreibung">
            <a:extLst>
              <a:ext uri="{FF2B5EF4-FFF2-40B4-BE49-F238E27FC236}">
                <a16:creationId xmlns:a16="http://schemas.microsoft.com/office/drawing/2014/main" id="{85B9B6B8-B3AC-DEAE-79D0-E909228CADDD}"/>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02300" y="3833632"/>
            <a:ext cx="673100" cy="548576"/>
          </a:xfrm>
          <a:prstGeom prst="rect">
            <a:avLst/>
          </a:prstGeom>
        </p:spPr>
      </p:pic>
    </p:spTree>
    <p:extLst>
      <p:ext uri="{BB962C8B-B14F-4D97-AF65-F5344CB8AC3E}">
        <p14:creationId xmlns:p14="http://schemas.microsoft.com/office/powerpoint/2010/main" val="3218563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gD///////////////////////////////////////////////////////////////////////////////////////////////////////////////////////////////////////////////////////////////////////////////////////////////////////////////////////////////////////////////////////////////////////////////////////////////////////////////////////////////////////////////////////////////////////////////////////////////////////////////////////////////////////////////////////////////////////////////////////////////8BACAA////////////////AAAO////////AwAAAAMA////////////////////////////////////////////////////////////////////////////////////////////////////////////////////////////////////////////////////////////////////////////////////////////////////////////////////////////////////////////////////////////////////////////////////////////////////////////////////////////////////////////////////////////////////////////////////////////////////////////////////////////////////////////////////////////////////////////////////////////////////////////////////////AgACAP///////wQAAAACABAAC8CI+geVEw9JrMy3HZoTAA0FAAAAAAADAAAAAAADAAAAAwADAAAAAAD///////8DAAEA////////BAAAAAMAEAAL2Fg4Onn8gEKEizpywi7pv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MCI+geVEw9JrMy3HZoTAA0DRGF0YQAbAAAABExpbmtlZFNoYXBlRGF0YQAFAAAAAAACTmFtZQAZAAAATGlua2VkU2hhcGVzRGF0YVByb3BlcnR5ABBWZXJzaW9uAAAAAAAJTGFzdFdyaXRlAECSd+N7AQAAAAEA/////8YAxgAAAAVfaWQAEAAAAATYWDg6efyAQoSLOnLCLum8A0RhdGEAUwAAAAhQcmVzZW50YXRpb25TY2FubmVkRm9yTGlua2VkU2hhcGVzAAECTnVtYmVyRm9ybWF0U2VwYXJhdG9yTW9kZQAKAAAAQXV0b21hdGljAAACTmFtZQAkAAAATGlua2VkU2hhcGVQcmVzZW50YXRpb25TZXR0aW5nc0RhdGEAEFZlcnNpb24AAAAAAAlMYXN0V3JpdGUAcZJ343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HINKCELLUNDODONOTDELETE" val="0"/>
  <p:tag name="COAUTHORING_SESSION_ID" val="8ead65b9-3f74-4f8b-8d3d-e42b1fc44c90"/>
  <p:tag name="UNDO_REDO_REVISION" val="65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pOBg3qIBq5KpAqLq04h7A"/>
</p:tagLst>
</file>

<file path=ppt/tags/tag12.xml><?xml version="1.0" encoding="utf-8"?>
<p:tagLst xmlns:a="http://schemas.openxmlformats.org/drawingml/2006/main" xmlns:r="http://schemas.openxmlformats.org/officeDocument/2006/relationships" xmlns:p="http://schemas.openxmlformats.org/presentationml/2006/main">
  <p:tag name="NAME" val="LABEL-urn:dp:quickSlide:basic:slides#DPDHLLabels\b07cae3c-ca7d-41b2-b39c-fd573cecd03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fDXoonSRL1x0WWfmB3_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9S6DxouxlD2JaGbvbwF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9S6DxouxlD2JaGbvbwF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Dqxqjl.zEuIjKkICnXE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fEVXSq7A0yycOPPgM7r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AhpZtP4_U23.1wogAz.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s9lLBAsHESgkakOZu0N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Dqxqjl.zEuIjKkICnXE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AhpZtP4_U23.1wogAz.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zJd.MUr.vrIYGjqUIb.9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fEVXSq7A0yycOPPgM7r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s9lLBAsHESgkakOZu0N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H3UVcaEmU66M6kzyN9E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heme/theme1.xml><?xml version="1.0" encoding="utf-8"?>
<a:theme xmlns:a="http://schemas.openxmlformats.org/drawingml/2006/main" name="Post_und_Paket_DE">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gelb">
      <a:srgbClr val="FFCC00"/>
    </a:custClr>
    <a:custClr name="70% Postgelb">
      <a:srgbClr val="FFDB4C"/>
    </a:custClr>
    <a:custClr name="50% Postgelb">
      <a:srgbClr val="FFE57F"/>
    </a:custClr>
    <a:custClr name="30% Postgelb">
      <a:srgbClr val="FFF0B2"/>
    </a:custClr>
    <a:custClr name="20% Postgelb">
      <a:srgbClr val="FFF5CC"/>
    </a:custClr>
    <a:custClr name="None">
      <a:srgbClr val="FFFFFF"/>
    </a:custClr>
    <a:custClr name="Dunkel Grün">
      <a:srgbClr val="007C39"/>
    </a:custClr>
    <a:custClr name="65% Postgelb">
      <a:srgbClr val="FFDE59"/>
    </a:custClr>
    <a:custClr name="None">
      <a:srgbClr val="FFFFFF"/>
    </a:custClr>
    <a:custClr name="None">
      <a:srgbClr val="FFFFFF"/>
    </a:custClr>
    <a:custClr name="Grau 80">
      <a:srgbClr val="333333"/>
    </a:custClr>
    <a:custClr name="Grau 60">
      <a:srgbClr val="666666"/>
    </a:custClr>
    <a:custClr name="Grau 45">
      <a:srgbClr val="8C8C8C"/>
    </a:custClr>
    <a:custClr name="Grau 30">
      <a:srgbClr val="B2B2B2"/>
    </a:custClr>
    <a:custClr name="Grau 20">
      <a:srgbClr val="CCCCCC"/>
    </a:custClr>
    <a:custClr name="Grau 10">
      <a:srgbClr val="E6E6E6"/>
    </a:custClr>
    <a:custClr name="Grau 08">
      <a:srgbClr val="EBEBEB"/>
    </a:custClr>
    <a:custClr name="Grau 05">
      <a:srgbClr val="F2F2F2"/>
    </a:custClr>
    <a:custClr name="None">
      <a:srgbClr val="FFFFFF"/>
    </a:custClr>
    <a:custClr name="None">
      <a:srgbClr val="FFFFFF"/>
    </a:custClr>
  </a:custClrLst>
  <a:extLst>
    <a:ext uri="{05A4C25C-085E-4340-85A3-A5531E510DB2}">
      <thm15:themeFamily xmlns:thm15="http://schemas.microsoft.com/office/thememl/2012/main" name="Post_und_Paket_DE.potx" id="{831541FF-E64F-458B-B8B7-2FB82B4942BF}" vid="{6E953C71-4E60-4374-9C31-8F72E2C3EA8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07BDF12460FC4D922CCD25A12A34D5" ma:contentTypeVersion="16" ma:contentTypeDescription="Create a new document." ma:contentTypeScope="" ma:versionID="8f17e2c73571e3dfc297013ff92c38c2">
  <xsd:schema xmlns:xsd="http://www.w3.org/2001/XMLSchema" xmlns:xs="http://www.w3.org/2001/XMLSchema" xmlns:p="http://schemas.microsoft.com/office/2006/metadata/properties" xmlns:ns3="15e1b4db-aa68-4f85-aaf6-88ddcc0431b9" xmlns:ns4="ba797fb4-ef1b-4207-9487-0e660cc1e408" targetNamespace="http://schemas.microsoft.com/office/2006/metadata/properties" ma:root="true" ma:fieldsID="bfd1c89f33d8d425a965d4efc1b61d23" ns3:_="" ns4:_="">
    <xsd:import namespace="15e1b4db-aa68-4f85-aaf6-88ddcc0431b9"/>
    <xsd:import namespace="ba797fb4-ef1b-4207-9487-0e660cc1e40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LengthInSeconds" minOccurs="0"/>
                <xsd:element ref="ns4:MediaServiceSearchProperties" minOccurs="0"/>
                <xsd:element ref="ns4:_activity" minOccurs="0"/>
                <xsd:element ref="ns4:MediaServiceObjectDetectorVersions" minOccurs="0"/>
                <xsd:element ref="ns4:MediaServiceOCR" minOccurs="0"/>
                <xsd:element ref="ns4:MediaServiceLocation"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e1b4db-aa68-4f85-aaf6-88ddcc0431b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797fb4-ef1b-4207-9487-0e660cc1e40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ba797fb4-ef1b-4207-9487-0e660cc1e408" xsi:nil="true"/>
  </documentManagement>
</p:properties>
</file>

<file path=customXml/itemProps1.xml><?xml version="1.0" encoding="utf-8"?>
<ds:datastoreItem xmlns:ds="http://schemas.openxmlformats.org/officeDocument/2006/customXml" ds:itemID="{DE5E29FC-6DE0-4E7D-96AA-7C5F6654BBFD}">
  <ds:schemaRefs>
    <ds:schemaRef ds:uri="15e1b4db-aa68-4f85-aaf6-88ddcc0431b9"/>
    <ds:schemaRef ds:uri="ba797fb4-ef1b-4207-9487-0e660cc1e4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0A3E803-2A27-4BAB-ACA0-20F5C16D012F}">
  <ds:schemaRefs>
    <ds:schemaRef ds:uri="http://schemas.microsoft.com/sharepoint/v3/contenttype/forms"/>
  </ds:schemaRefs>
</ds:datastoreItem>
</file>

<file path=customXml/itemProps3.xml><?xml version="1.0" encoding="utf-8"?>
<ds:datastoreItem xmlns:ds="http://schemas.openxmlformats.org/officeDocument/2006/customXml" ds:itemID="{674183B9-2832-4E25-AAB5-AD0EE3B9E199}">
  <ds:schemaRefs>
    <ds:schemaRef ds:uri="15e1b4db-aa68-4f85-aaf6-88ddcc0431b9"/>
    <ds:schemaRef ds:uri="ba797fb4-ef1b-4207-9487-0e660cc1e40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48650eb9-7b8f-46d8-be44-f11f0c00e846}" enabled="1" method="Privileged" siteId="{cd99fef8-1cd3-4a2a-9bdf-15531181d65e}" removed="0"/>
</clbl:labelList>
</file>

<file path=docProps/app.xml><?xml version="1.0" encoding="utf-8"?>
<Properties xmlns="http://schemas.openxmlformats.org/officeDocument/2006/extended-properties" xmlns:vt="http://schemas.openxmlformats.org/officeDocument/2006/docPropsVTypes">
  <Template>DHL</Template>
  <TotalTime>0</TotalTime>
  <Application>Microsoft Office PowerPoint</Application>
  <PresentationFormat>On-screen Show (16:9)</PresentationFormat>
  <Slides>12</Slides>
  <Notes>7</Notes>
  <HiddenSlides>0</HiddenSlide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Post_und_Paket_DE</vt:lpstr>
      <vt:lpstr>Nachhaltige Logistik Wie DHL die Dekarbonisierung meistert und gleichzeitig den Kunden einen weiteren Mehrwert bietet</vt:lpstr>
      <vt:lpstr>PowerPoint Presentation</vt:lpstr>
      <vt:lpstr>Der Konzern setzt sich ambitionierte Ziele zur Reduzierung der CO2e-Emissionen und setzt dabei auf verschiedene Maßnahmen.</vt:lpstr>
      <vt:lpstr>Nachhaltigkeit bei Post- und Paketdienstleistern ist gesellschaftlich relevant, dabei ist Deutsche Post und DHL ein vertrauensvoller Partner</vt:lpstr>
      <vt:lpstr>PowerPoint Presentation</vt:lpstr>
      <vt:lpstr>Insetting als neuer Standard - Die Zukunft nachhaltiger Produkte</vt:lpstr>
      <vt:lpstr> Klimaschutz einfach machen: Ab dem 01.07. bietet DHL die Möglichkeit GoGreen Plus auf Einzelsendungsbasis zu buchen</vt:lpstr>
      <vt:lpstr> Durch die Buchung auf Einzelsendungsbasis ergeben sich völlig neue Möglichkeiten der Refinanzierung von GoGreen Plus, bspw. im CheckOut</vt:lpstr>
      <vt:lpstr>Vollständige Transparenz: Unsere Emissionen werden entlang der gesamte Lieferkette nach weltweit anerkannten Standards jährlich extern geprüft</vt:lpstr>
      <vt:lpstr>Attraktive Werbemittel für die Kommunikation mit Ihren Empfängern </vt:lpstr>
      <vt:lpstr>Schon jetzt konnten wie viele Kunden von GoGreen Plus überzeuge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renversand national</dc:title>
  <dc:creator>patrick.frese@deutschepost.de;Felix.Friemelt@deutschepost.de</dc:creator>
  <cp:revision>1</cp:revision>
  <cp:lastPrinted>2022-04-22T14:21:26Z</cp:lastPrinted>
  <dcterms:created xsi:type="dcterms:W3CDTF">2020-09-08T11:57:42Z</dcterms:created>
  <dcterms:modified xsi:type="dcterms:W3CDTF">2025-05-28T12:5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07BDF12460FC4D922CCD25A12A34D5</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MSIP_Label_48650eb9-7b8f-46d8-be44-f11f0c00e846_Enabled">
    <vt:lpwstr>true</vt:lpwstr>
  </property>
  <property fmtid="{D5CDD505-2E9C-101B-9397-08002B2CF9AE}" pid="8" name="MSIP_Label_48650eb9-7b8f-46d8-be44-f11f0c00e846_SetDate">
    <vt:lpwstr>2023-09-05T06:41:52Z</vt:lpwstr>
  </property>
  <property fmtid="{D5CDD505-2E9C-101B-9397-08002B2CF9AE}" pid="9" name="MSIP_Label_48650eb9-7b8f-46d8-be44-f11f0c00e846_Method">
    <vt:lpwstr>Privileged</vt:lpwstr>
  </property>
  <property fmtid="{D5CDD505-2E9C-101B-9397-08002B2CF9AE}" pid="10" name="MSIP_Label_48650eb9-7b8f-46d8-be44-f11f0c00e846_Name">
    <vt:lpwstr>Unclassified (Public)</vt:lpwstr>
  </property>
  <property fmtid="{D5CDD505-2E9C-101B-9397-08002B2CF9AE}" pid="11" name="MSIP_Label_48650eb9-7b8f-46d8-be44-f11f0c00e846_SiteId">
    <vt:lpwstr>cd99fef8-1cd3-4a2a-9bdf-15531181d65e</vt:lpwstr>
  </property>
  <property fmtid="{D5CDD505-2E9C-101B-9397-08002B2CF9AE}" pid="12" name="MSIP_Label_48650eb9-7b8f-46d8-be44-f11f0c00e846_ActionId">
    <vt:lpwstr>d124af8b-974c-441f-b5fb-a92479ccc6fe</vt:lpwstr>
  </property>
  <property fmtid="{D5CDD505-2E9C-101B-9397-08002B2CF9AE}" pid="13" name="MSIP_Label_48650eb9-7b8f-46d8-be44-f11f0c00e846_ContentBits">
    <vt:lpwstr>1</vt:lpwstr>
  </property>
  <property fmtid="{D5CDD505-2E9C-101B-9397-08002B2CF9AE}" pid="14" name="ClassificationContentMarkingHeaderLocations">
    <vt:lpwstr>Post_und_Paket_DE:2\1_Post_und_Paket_DE:2</vt:lpwstr>
  </property>
  <property fmtid="{D5CDD505-2E9C-101B-9397-08002B2CF9AE}" pid="15" name="ClassificationContentMarkingHeaderText">
    <vt:lpwstr>UNCLASSIFIED (PUBLIC)</vt:lpwstr>
  </property>
</Properties>
</file>